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5" r:id="rId1"/>
  </p:sldMasterIdLst>
  <p:notesMasterIdLst>
    <p:notesMasterId r:id="rId44"/>
  </p:notesMasterIdLst>
  <p:handoutMasterIdLst>
    <p:handoutMasterId r:id="rId45"/>
  </p:handoutMasterIdLst>
  <p:sldIdLst>
    <p:sldId id="256" r:id="rId2"/>
    <p:sldId id="342" r:id="rId3"/>
    <p:sldId id="346" r:id="rId4"/>
    <p:sldId id="336" r:id="rId5"/>
    <p:sldId id="350" r:id="rId6"/>
    <p:sldId id="337" r:id="rId7"/>
    <p:sldId id="343" r:id="rId8"/>
    <p:sldId id="360" r:id="rId9"/>
    <p:sldId id="351" r:id="rId10"/>
    <p:sldId id="345" r:id="rId11"/>
    <p:sldId id="352" r:id="rId12"/>
    <p:sldId id="347" r:id="rId13"/>
    <p:sldId id="348" r:id="rId14"/>
    <p:sldId id="358" r:id="rId15"/>
    <p:sldId id="396" r:id="rId16"/>
    <p:sldId id="371" r:id="rId17"/>
    <p:sldId id="372" r:id="rId18"/>
    <p:sldId id="374" r:id="rId19"/>
    <p:sldId id="378" r:id="rId20"/>
    <p:sldId id="355" r:id="rId21"/>
    <p:sldId id="375" r:id="rId22"/>
    <p:sldId id="379" r:id="rId23"/>
    <p:sldId id="380" r:id="rId24"/>
    <p:sldId id="381" r:id="rId25"/>
    <p:sldId id="382" r:id="rId26"/>
    <p:sldId id="383" r:id="rId27"/>
    <p:sldId id="356" r:id="rId28"/>
    <p:sldId id="384" r:id="rId29"/>
    <p:sldId id="387" r:id="rId30"/>
    <p:sldId id="357" r:id="rId31"/>
    <p:sldId id="386" r:id="rId32"/>
    <p:sldId id="322" r:id="rId33"/>
    <p:sldId id="395" r:id="rId34"/>
    <p:sldId id="349" r:id="rId35"/>
    <p:sldId id="316" r:id="rId36"/>
    <p:sldId id="388" r:id="rId37"/>
    <p:sldId id="393" r:id="rId38"/>
    <p:sldId id="392" r:id="rId39"/>
    <p:sldId id="391" r:id="rId40"/>
    <p:sldId id="390" r:id="rId41"/>
    <p:sldId id="389" r:id="rId42"/>
    <p:sldId id="394" r:id="rId43"/>
  </p:sldIdLst>
  <p:sldSz cx="9144000" cy="6858000" type="screen4x3"/>
  <p:notesSz cx="6858000" cy="9144000"/>
  <p:custDataLst>
    <p:tags r:id="rId46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99FF"/>
    <a:srgbClr val="00CCFF"/>
    <a:srgbClr val="000099"/>
    <a:srgbClr val="0033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7456" autoAdjust="0"/>
    <p:restoredTop sz="71147" autoAdjust="0"/>
  </p:normalViewPr>
  <p:slideViewPr>
    <p:cSldViewPr>
      <p:cViewPr>
        <p:scale>
          <a:sx n="50" d="100"/>
          <a:sy n="50" d="100"/>
        </p:scale>
        <p:origin x="-158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Libro1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PUC\Simulan\Validacion\Salidas\VALIDACION%20REAL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PUC\Simulan\Validacion\Salidas\VALIDACION%20REAL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Hoja1!$K$1</c:f>
              <c:strCache>
                <c:ptCount val="1"/>
                <c:pt idx="0">
                  <c:v>Porcentaje</c:v>
                </c:pt>
              </c:strCache>
            </c:strRef>
          </c:tx>
          <c:dPt>
            <c:idx val="6"/>
            <c:spPr>
              <a:solidFill>
                <a:schemeClr val="accent6">
                  <a:lumMod val="65000"/>
                </a:schemeClr>
              </a:solidFill>
            </c:spPr>
          </c:dPt>
          <c:dPt>
            <c:idx val="7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8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dLbl>
              <c:idx val="0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  <a:effectLst/>
                    </a:defRPr>
                  </a:pPr>
                  <a:endParaRPr lang="es-CL"/>
                </a:p>
              </c:txPr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dLbl>
              <c:idx val="8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numFmt formatCode="0.00%" sourceLinked="0"/>
            <c:showPercent val="1"/>
            <c:showLeaderLines val="1"/>
          </c:dLbls>
          <c:cat>
            <c:strRef>
              <c:f>Hoja1!$J$2:$J$10</c:f>
              <c:strCache>
                <c:ptCount val="9"/>
                <c:pt idx="0">
                  <c:v>Reaccionario</c:v>
                </c:pt>
                <c:pt idx="1">
                  <c:v>HBT</c:v>
                </c:pt>
                <c:pt idx="2">
                  <c:v>ATC terrestre</c:v>
                </c:pt>
                <c:pt idx="3">
                  <c:v>Mantenimiento</c:v>
                </c:pt>
                <c:pt idx="4">
                  <c:v>Tripulación</c:v>
                </c:pt>
                <c:pt idx="5">
                  <c:v>Clima</c:v>
                </c:pt>
                <c:pt idx="6">
                  <c:v>Acomodación pasajeros a bordo</c:v>
                </c:pt>
                <c:pt idx="7">
                  <c:v>Espera de pasajeros en conexión</c:v>
                </c:pt>
                <c:pt idx="8">
                  <c:v>Otros</c:v>
                </c:pt>
              </c:strCache>
            </c:strRef>
          </c:cat>
          <c:val>
            <c:numRef>
              <c:f>Hoja1!$K$2:$K$10</c:f>
              <c:numCache>
                <c:formatCode>0.00%</c:formatCode>
                <c:ptCount val="9"/>
                <c:pt idx="0">
                  <c:v>0.39080000000000026</c:v>
                </c:pt>
                <c:pt idx="1">
                  <c:v>0.11340000000000004</c:v>
                </c:pt>
                <c:pt idx="2">
                  <c:v>8.6800000000000044E-2</c:v>
                </c:pt>
                <c:pt idx="3">
                  <c:v>7.3800000000000046E-2</c:v>
                </c:pt>
                <c:pt idx="4">
                  <c:v>5.4000000000000034E-2</c:v>
                </c:pt>
                <c:pt idx="5">
                  <c:v>3.6000000000000018E-2</c:v>
                </c:pt>
                <c:pt idx="6">
                  <c:v>3.1600000000000024E-2</c:v>
                </c:pt>
                <c:pt idx="7">
                  <c:v>2.4900000000000002E-2</c:v>
                </c:pt>
                <c:pt idx="8">
                  <c:v>0.18870000000000012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3.1055339893473706E-2</c:v>
                </c:pt>
                <c:pt idx="1">
                  <c:v>4.4416358219734733E-2</c:v>
                </c:pt>
                <c:pt idx="2">
                  <c:v>1.7604044416358221E-2</c:v>
                </c:pt>
                <c:pt idx="3">
                  <c:v>0.12449219102645326</c:v>
                </c:pt>
                <c:pt idx="4">
                  <c:v>0.10688814661009298</c:v>
                </c:pt>
                <c:pt idx="5">
                  <c:v>8.9374379344590756E-3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1.7602196965937105E-2</c:v>
                </c:pt>
                <c:pt idx="1">
                  <c:v>5.911790494152127E-2</c:v>
                </c:pt>
                <c:pt idx="2">
                  <c:v>1.9914139659536974E-2</c:v>
                </c:pt>
                <c:pt idx="3">
                  <c:v>0.10103892666302711</c:v>
                </c:pt>
                <c:pt idx="4">
                  <c:v>0.11768160537330223</c:v>
                </c:pt>
                <c:pt idx="5">
                  <c:v>1.5137227653977865E-3</c:v>
                </c:pt>
              </c:numCache>
            </c:numRef>
          </c:val>
        </c:ser>
        <c:axId val="108714240"/>
        <c:axId val="108716032"/>
      </c:barChart>
      <c:catAx>
        <c:axId val="108714240"/>
        <c:scaling>
          <c:orientation val="minMax"/>
        </c:scaling>
        <c:axPos val="b"/>
        <c:tickLblPos val="nextTo"/>
        <c:crossAx val="108716032"/>
        <c:crosses val="autoZero"/>
        <c:auto val="1"/>
        <c:lblAlgn val="ctr"/>
        <c:lblOffset val="100"/>
      </c:catAx>
      <c:valAx>
        <c:axId val="108716032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108714240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2.9914187184216859E-2</c:v>
                </c:pt>
                <c:pt idx="1">
                  <c:v>4.5312374689229433E-2</c:v>
                </c:pt>
                <c:pt idx="2">
                  <c:v>1.9809126634052689E-2</c:v>
                </c:pt>
                <c:pt idx="3">
                  <c:v>0.12102012992220794</c:v>
                </c:pt>
                <c:pt idx="4">
                  <c:v>0.10016841767583608</c:v>
                </c:pt>
                <c:pt idx="5">
                  <c:v>9.3832705108670682E-3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2.7884132680968152E-2</c:v>
                </c:pt>
                <c:pt idx="1">
                  <c:v>5.8255846189580053E-2</c:v>
                </c:pt>
                <c:pt idx="2">
                  <c:v>1.7952541153728001E-2</c:v>
                </c:pt>
                <c:pt idx="3">
                  <c:v>0.11006046619662355</c:v>
                </c:pt>
                <c:pt idx="4">
                  <c:v>0.14184830252579586</c:v>
                </c:pt>
                <c:pt idx="5">
                  <c:v>5.5446078688475462E-4</c:v>
                </c:pt>
              </c:numCache>
            </c:numRef>
          </c:val>
        </c:ser>
        <c:axId val="108535808"/>
        <c:axId val="108537344"/>
      </c:barChart>
      <c:catAx>
        <c:axId val="108535808"/>
        <c:scaling>
          <c:orientation val="minMax"/>
        </c:scaling>
        <c:axPos val="b"/>
        <c:tickLblPos val="nextTo"/>
        <c:crossAx val="108537344"/>
        <c:crosses val="autoZero"/>
        <c:auto val="1"/>
        <c:lblAlgn val="ctr"/>
        <c:lblOffset val="100"/>
      </c:catAx>
      <c:valAx>
        <c:axId val="108537344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108535808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plotArea>
      <c:layout/>
      <c:barChart>
        <c:barDir val="col"/>
        <c:grouping val="clustered"/>
        <c:ser>
          <c:idx val="0"/>
          <c:order val="0"/>
          <c:tx>
            <c:strRef>
              <c:f>Hoja1!$B$1</c:f>
              <c:strCache>
                <c:ptCount val="1"/>
                <c:pt idx="0">
                  <c:v>punt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c:spP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B$2:$B$6</c:f>
              <c:numCache>
                <c:formatCode>0.00%</c:formatCode>
                <c:ptCount val="5"/>
                <c:pt idx="0">
                  <c:v>0.89229999999999998</c:v>
                </c:pt>
                <c:pt idx="1">
                  <c:v>0.88570000000000004</c:v>
                </c:pt>
                <c:pt idx="2">
                  <c:v>0.88590000000000002</c:v>
                </c:pt>
                <c:pt idx="3">
                  <c:v>0.8915999999999995</c:v>
                </c:pt>
                <c:pt idx="4">
                  <c:v>0.88790000000000002</c:v>
                </c:pt>
              </c:numCache>
            </c:numRef>
          </c:val>
        </c:ser>
        <c:axId val="108584960"/>
        <c:axId val="108586496"/>
      </c:barChart>
      <c:stockChart>
        <c:ser>
          <c:idx val="1"/>
          <c:order val="1"/>
          <c:tx>
            <c:strRef>
              <c:f>Hoja1!$C$1</c:f>
              <c:strCache>
                <c:ptCount val="1"/>
                <c:pt idx="0">
                  <c:v>Intervalo de Confianza (95%)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C$2:$C$6</c:f>
              <c:numCache>
                <c:formatCode>0.00%</c:formatCode>
                <c:ptCount val="5"/>
                <c:pt idx="0">
                  <c:v>0.89359999999999951</c:v>
                </c:pt>
                <c:pt idx="1">
                  <c:v>0.8871</c:v>
                </c:pt>
                <c:pt idx="2">
                  <c:v>0.88719999999999999</c:v>
                </c:pt>
                <c:pt idx="3">
                  <c:v>0.89290000000000003</c:v>
                </c:pt>
                <c:pt idx="4">
                  <c:v>0.88929999999999998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ramos volados promedio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D$2:$D$6</c:f>
              <c:numCache>
                <c:formatCode>0.00%</c:formatCode>
                <c:ptCount val="5"/>
                <c:pt idx="0">
                  <c:v>0.89090000000000003</c:v>
                </c:pt>
                <c:pt idx="1">
                  <c:v>0.88429999999999997</c:v>
                </c:pt>
                <c:pt idx="2">
                  <c:v>0.88449999999999951</c:v>
                </c:pt>
                <c:pt idx="3">
                  <c:v>0.89019999999999999</c:v>
                </c:pt>
                <c:pt idx="4">
                  <c:v>0.88649999999999951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untualidad STD15</c:v>
                </c:pt>
              </c:strCache>
            </c:strRef>
          </c:tx>
          <c:spPr>
            <a:ln w="28575">
              <a:noFill/>
            </a:ln>
          </c:spPr>
          <c:marker>
            <c:symbol val="dot"/>
            <c:size val="5"/>
          </c:marker>
          <c:cat>
            <c:strRef>
              <c:f>Hoja1!$A$2:$A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E$2:$E$6</c:f>
              <c:numCache>
                <c:formatCode>0.00%</c:formatCode>
                <c:ptCount val="5"/>
                <c:pt idx="0">
                  <c:v>0.89229999999999998</c:v>
                </c:pt>
                <c:pt idx="1">
                  <c:v>0.88570000000000004</c:v>
                </c:pt>
                <c:pt idx="2">
                  <c:v>0.88590000000000002</c:v>
                </c:pt>
                <c:pt idx="3">
                  <c:v>0.8915999999999995</c:v>
                </c:pt>
                <c:pt idx="4">
                  <c:v>0.88790000000000002</c:v>
                </c:pt>
              </c:numCache>
            </c:numRef>
          </c:val>
        </c:ser>
        <c:hiLowLines>
          <c:spPr>
            <a:ln w="25400" cap="flat" cmpd="sng" algn="ctr">
              <a:solidFill>
                <a:schemeClr val="dk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</c:hiLowLines>
        <c:axId val="108589824"/>
        <c:axId val="108588032"/>
      </c:stockChart>
      <c:catAx>
        <c:axId val="108584960"/>
        <c:scaling>
          <c:orientation val="minMax"/>
        </c:scaling>
        <c:axPos val="b"/>
        <c:tickLblPos val="nextTo"/>
        <c:crossAx val="108586496"/>
        <c:crosses val="autoZero"/>
        <c:auto val="1"/>
        <c:lblAlgn val="ctr"/>
        <c:lblOffset val="100"/>
      </c:catAx>
      <c:valAx>
        <c:axId val="108586496"/>
        <c:scaling>
          <c:orientation val="minMax"/>
          <c:max val="0.89600000000000002"/>
        </c:scaling>
        <c:axPos val="l"/>
        <c:majorGridlines/>
        <c:numFmt formatCode="0%" sourceLinked="0"/>
        <c:tickLblPos val="nextTo"/>
        <c:crossAx val="108584960"/>
        <c:crosses val="autoZero"/>
        <c:crossBetween val="between"/>
        <c:majorUnit val="5.0000000000000044E-3"/>
      </c:valAx>
      <c:valAx>
        <c:axId val="108588032"/>
        <c:scaling>
          <c:orientation val="minMax"/>
          <c:max val="0.89400000000000002"/>
          <c:min val="0.88200000000000001"/>
        </c:scaling>
        <c:delete val="1"/>
        <c:axPos val="r"/>
        <c:numFmt formatCode="0.00%" sourceLinked="1"/>
        <c:tickLblPos val="nextTo"/>
        <c:crossAx val="108589824"/>
        <c:crosses val="max"/>
        <c:crossBetween val="between"/>
      </c:valAx>
      <c:catAx>
        <c:axId val="108589824"/>
        <c:scaling>
          <c:orientation val="minMax"/>
        </c:scaling>
        <c:delete val="1"/>
        <c:axPos val="b"/>
        <c:tickLblPos val="nextTo"/>
        <c:crossAx val="108588032"/>
        <c:crosses val="autoZero"/>
        <c:auto val="1"/>
        <c:lblAlgn val="ctr"/>
        <c:lblOffset val="100"/>
      </c:catAx>
    </c:plotArea>
    <c:plotVisOnly val="1"/>
    <c:dispBlanksAs val="gap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plotArea>
      <c:layout/>
      <c:barChart>
        <c:barDir val="col"/>
        <c:grouping val="clustered"/>
        <c:ser>
          <c:idx val="0"/>
          <c:order val="0"/>
          <c:tx>
            <c:strRef>
              <c:f>Hoja1!$J$1</c:f>
              <c:strCache>
                <c:ptCount val="1"/>
                <c:pt idx="0">
                  <c:v>prom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c:spP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J$2:$J$6</c:f>
              <c:numCache>
                <c:formatCode>General</c:formatCode>
                <c:ptCount val="5"/>
                <c:pt idx="0">
                  <c:v>21.53</c:v>
                </c:pt>
                <c:pt idx="1">
                  <c:v>18.64</c:v>
                </c:pt>
                <c:pt idx="2">
                  <c:v>11.43</c:v>
                </c:pt>
                <c:pt idx="3">
                  <c:v>27.830000000000005</c:v>
                </c:pt>
                <c:pt idx="4">
                  <c:v>19.170000000000005</c:v>
                </c:pt>
              </c:numCache>
            </c:numRef>
          </c:val>
        </c:ser>
        <c:axId val="108805504"/>
        <c:axId val="108831872"/>
      </c:barChart>
      <c:stockChart>
        <c:ser>
          <c:idx val="1"/>
          <c:order val="1"/>
          <c:tx>
            <c:strRef>
              <c:f>Hoja1!$K$1</c:f>
              <c:strCache>
                <c:ptCount val="1"/>
                <c:pt idx="0">
                  <c:v>max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K$2:$K$6</c:f>
              <c:numCache>
                <c:formatCode>General</c:formatCode>
                <c:ptCount val="5"/>
                <c:pt idx="0">
                  <c:v>22.29</c:v>
                </c:pt>
                <c:pt idx="1">
                  <c:v>20.99</c:v>
                </c:pt>
                <c:pt idx="2">
                  <c:v>12.46</c:v>
                </c:pt>
                <c:pt idx="3">
                  <c:v>28.79</c:v>
                </c:pt>
                <c:pt idx="4">
                  <c:v>20.03</c:v>
                </c:pt>
              </c:numCache>
            </c:numRef>
          </c:val>
        </c:ser>
        <c:ser>
          <c:idx val="2"/>
          <c:order val="2"/>
          <c:tx>
            <c:strRef>
              <c:f>Hoja1!$L$1</c:f>
              <c:strCache>
                <c:ptCount val="1"/>
                <c:pt idx="0">
                  <c:v>min</c:v>
                </c:pt>
              </c:strCache>
            </c:strRef>
          </c:tx>
          <c:spPr>
            <a:ln w="28575">
              <a:noFill/>
            </a:ln>
          </c:spPr>
          <c:marker>
            <c:symbol val="none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L$2:$L$6</c:f>
              <c:numCache>
                <c:formatCode>General</c:formatCode>
                <c:ptCount val="5"/>
                <c:pt idx="0">
                  <c:v>20.759999999999987</c:v>
                </c:pt>
                <c:pt idx="1">
                  <c:v>16.279999999999987</c:v>
                </c:pt>
                <c:pt idx="2">
                  <c:v>10.4</c:v>
                </c:pt>
                <c:pt idx="3">
                  <c:v>26.86</c:v>
                </c:pt>
                <c:pt idx="4">
                  <c:v>18.3</c:v>
                </c:pt>
              </c:numCache>
            </c:numRef>
          </c:val>
        </c:ser>
        <c:ser>
          <c:idx val="3"/>
          <c:order val="3"/>
          <c:tx>
            <c:strRef>
              <c:f>Hoja1!$M$1</c:f>
              <c:strCache>
                <c:ptCount val="1"/>
                <c:pt idx="0">
                  <c:v>prom</c:v>
                </c:pt>
              </c:strCache>
            </c:strRef>
          </c:tx>
          <c:spPr>
            <a:ln w="28575">
              <a:noFill/>
            </a:ln>
          </c:spPr>
          <c:marker>
            <c:symbol val="dot"/>
            <c:size val="5"/>
          </c:marker>
          <c:cat>
            <c:strRef>
              <c:f>Hoja1!$I$2:$I$6</c:f>
              <c:strCache>
                <c:ptCount val="5"/>
                <c:pt idx="0">
                  <c:v>AEP</c:v>
                </c:pt>
                <c:pt idx="1">
                  <c:v>EZE</c:v>
                </c:pt>
                <c:pt idx="2">
                  <c:v>GYE</c:v>
                </c:pt>
                <c:pt idx="3">
                  <c:v>LIM</c:v>
                </c:pt>
                <c:pt idx="4">
                  <c:v>SCL</c:v>
                </c:pt>
              </c:strCache>
            </c:strRef>
          </c:cat>
          <c:val>
            <c:numRef>
              <c:f>Hoja1!$M$2:$M$6</c:f>
              <c:numCache>
                <c:formatCode>General</c:formatCode>
                <c:ptCount val="5"/>
                <c:pt idx="0">
                  <c:v>21.53</c:v>
                </c:pt>
                <c:pt idx="1">
                  <c:v>18.64</c:v>
                </c:pt>
                <c:pt idx="2">
                  <c:v>11.43</c:v>
                </c:pt>
                <c:pt idx="3">
                  <c:v>27.830000000000005</c:v>
                </c:pt>
                <c:pt idx="4">
                  <c:v>19.170000000000005</c:v>
                </c:pt>
              </c:numCache>
            </c:numRef>
          </c:val>
        </c:ser>
        <c:hiLowLines>
          <c:spPr>
            <a:ln w="25400" cap="flat" cmpd="sng" algn="ctr">
              <a:solidFill>
                <a:schemeClr val="dk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</c:hiLowLines>
        <c:axId val="108835200"/>
        <c:axId val="108833408"/>
      </c:stockChart>
      <c:catAx>
        <c:axId val="108805504"/>
        <c:scaling>
          <c:orientation val="minMax"/>
        </c:scaling>
        <c:axPos val="b"/>
        <c:tickLblPos val="nextTo"/>
        <c:crossAx val="108831872"/>
        <c:crosses val="autoZero"/>
        <c:auto val="1"/>
        <c:lblAlgn val="ctr"/>
        <c:lblOffset val="100"/>
      </c:catAx>
      <c:valAx>
        <c:axId val="108831872"/>
        <c:scaling>
          <c:orientation val="minMax"/>
          <c:max val="30"/>
          <c:min val="10"/>
        </c:scaling>
        <c:axPos val="l"/>
        <c:majorGridlines/>
        <c:numFmt formatCode="General" sourceLinked="1"/>
        <c:tickLblPos val="nextTo"/>
        <c:crossAx val="108805504"/>
        <c:crosses val="autoZero"/>
        <c:crossBetween val="between"/>
        <c:majorUnit val="5"/>
      </c:valAx>
      <c:valAx>
        <c:axId val="108833408"/>
        <c:scaling>
          <c:orientation val="minMax"/>
          <c:max val="30"/>
          <c:min val="10"/>
        </c:scaling>
        <c:delete val="1"/>
        <c:axPos val="r"/>
        <c:numFmt formatCode="General" sourceLinked="1"/>
        <c:tickLblPos val="nextTo"/>
        <c:crossAx val="108835200"/>
        <c:crosses val="max"/>
        <c:crossBetween val="between"/>
      </c:valAx>
      <c:catAx>
        <c:axId val="108835200"/>
        <c:scaling>
          <c:orientation val="minMax"/>
        </c:scaling>
        <c:delete val="1"/>
        <c:axPos val="b"/>
        <c:tickLblPos val="nextTo"/>
        <c:crossAx val="108833408"/>
        <c:crosses val="autoZero"/>
        <c:auto val="1"/>
        <c:lblAlgn val="ctr"/>
        <c:lblOffset val="100"/>
      </c:catAx>
    </c:plotArea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plotArea>
      <c:layout/>
      <c:barChart>
        <c:barDir val="col"/>
        <c:grouping val="clustered"/>
        <c:ser>
          <c:idx val="0"/>
          <c:order val="0"/>
          <c:cat>
            <c:numRef>
              <c:f>Puntualidad!$A$1:$A$48</c:f>
              <c:numCache>
                <c:formatCode>General</c:formatCode>
                <c:ptCount val="48"/>
                <c:pt idx="0">
                  <c:v>2005</c:v>
                </c:pt>
                <c:pt idx="1">
                  <c:v>2005</c:v>
                </c:pt>
                <c:pt idx="2">
                  <c:v>2005</c:v>
                </c:pt>
                <c:pt idx="3">
                  <c:v>2005</c:v>
                </c:pt>
                <c:pt idx="4">
                  <c:v>2005</c:v>
                </c:pt>
                <c:pt idx="5">
                  <c:v>2005</c:v>
                </c:pt>
                <c:pt idx="6">
                  <c:v>2005</c:v>
                </c:pt>
                <c:pt idx="7">
                  <c:v>2005</c:v>
                </c:pt>
                <c:pt idx="8">
                  <c:v>2005</c:v>
                </c:pt>
                <c:pt idx="9">
                  <c:v>2005</c:v>
                </c:pt>
                <c:pt idx="10">
                  <c:v>2005</c:v>
                </c:pt>
                <c:pt idx="11">
                  <c:v>2005</c:v>
                </c:pt>
                <c:pt idx="12">
                  <c:v>2006</c:v>
                </c:pt>
                <c:pt idx="13">
                  <c:v>2006</c:v>
                </c:pt>
                <c:pt idx="14">
                  <c:v>2006</c:v>
                </c:pt>
                <c:pt idx="15">
                  <c:v>2006</c:v>
                </c:pt>
                <c:pt idx="16">
                  <c:v>2006</c:v>
                </c:pt>
                <c:pt idx="17">
                  <c:v>2006</c:v>
                </c:pt>
                <c:pt idx="18">
                  <c:v>2006</c:v>
                </c:pt>
                <c:pt idx="19">
                  <c:v>2006</c:v>
                </c:pt>
                <c:pt idx="20">
                  <c:v>2006</c:v>
                </c:pt>
                <c:pt idx="21">
                  <c:v>2006</c:v>
                </c:pt>
                <c:pt idx="22">
                  <c:v>2006</c:v>
                </c:pt>
                <c:pt idx="23">
                  <c:v>2006</c:v>
                </c:pt>
                <c:pt idx="24">
                  <c:v>2007</c:v>
                </c:pt>
                <c:pt idx="25">
                  <c:v>2007</c:v>
                </c:pt>
                <c:pt idx="26">
                  <c:v>2007</c:v>
                </c:pt>
                <c:pt idx="27">
                  <c:v>2007</c:v>
                </c:pt>
                <c:pt idx="28">
                  <c:v>2007</c:v>
                </c:pt>
                <c:pt idx="29">
                  <c:v>2007</c:v>
                </c:pt>
                <c:pt idx="30">
                  <c:v>2007</c:v>
                </c:pt>
                <c:pt idx="31">
                  <c:v>2007</c:v>
                </c:pt>
                <c:pt idx="32">
                  <c:v>2007</c:v>
                </c:pt>
                <c:pt idx="33">
                  <c:v>2007</c:v>
                </c:pt>
                <c:pt idx="34">
                  <c:v>2007</c:v>
                </c:pt>
                <c:pt idx="35">
                  <c:v>2007</c:v>
                </c:pt>
                <c:pt idx="36">
                  <c:v>2008</c:v>
                </c:pt>
                <c:pt idx="37">
                  <c:v>2008</c:v>
                </c:pt>
                <c:pt idx="38">
                  <c:v>2008</c:v>
                </c:pt>
                <c:pt idx="39">
                  <c:v>2008</c:v>
                </c:pt>
                <c:pt idx="40">
                  <c:v>2008</c:v>
                </c:pt>
                <c:pt idx="41">
                  <c:v>2008</c:v>
                </c:pt>
                <c:pt idx="42">
                  <c:v>2008</c:v>
                </c:pt>
                <c:pt idx="43">
                  <c:v>2008</c:v>
                </c:pt>
                <c:pt idx="44">
                  <c:v>2008</c:v>
                </c:pt>
                <c:pt idx="45">
                  <c:v>2008</c:v>
                </c:pt>
                <c:pt idx="46">
                  <c:v>2008</c:v>
                </c:pt>
                <c:pt idx="47">
                  <c:v>2008</c:v>
                </c:pt>
              </c:numCache>
            </c:numRef>
          </c:cat>
          <c:val>
            <c:numRef>
              <c:f>Puntualidad!$C$1:$C$48</c:f>
              <c:numCache>
                <c:formatCode>0.00%</c:formatCode>
                <c:ptCount val="48"/>
                <c:pt idx="0">
                  <c:v>0.86773883821413667</c:v>
                </c:pt>
                <c:pt idx="1">
                  <c:v>0.86560636182902551</c:v>
                </c:pt>
                <c:pt idx="2">
                  <c:v>0.85962669394018676</c:v>
                </c:pt>
                <c:pt idx="3">
                  <c:v>0.88982597054887902</c:v>
                </c:pt>
                <c:pt idx="4">
                  <c:v>0.8816337498320389</c:v>
                </c:pt>
                <c:pt idx="5">
                  <c:v>0.80295162612735715</c:v>
                </c:pt>
                <c:pt idx="6">
                  <c:v>0.76014669926651512</c:v>
                </c:pt>
                <c:pt idx="7">
                  <c:v>0.79096534653465345</c:v>
                </c:pt>
                <c:pt idx="8">
                  <c:v>0.7891156462585166</c:v>
                </c:pt>
                <c:pt idx="9">
                  <c:v>0.81287897162260492</c:v>
                </c:pt>
                <c:pt idx="10">
                  <c:v>0.82517985611513056</c:v>
                </c:pt>
                <c:pt idx="11">
                  <c:v>0.86962536023056058</c:v>
                </c:pt>
                <c:pt idx="12">
                  <c:v>0.88747671743179579</c:v>
                </c:pt>
                <c:pt idx="13">
                  <c:v>0.89100325183668549</c:v>
                </c:pt>
                <c:pt idx="14">
                  <c:v>0.88041633668967079</c:v>
                </c:pt>
                <c:pt idx="15">
                  <c:v>0.87936976858690297</c:v>
                </c:pt>
                <c:pt idx="16">
                  <c:v>0.8338821807537391</c:v>
                </c:pt>
                <c:pt idx="17">
                  <c:v>0.86834245893480422</c:v>
                </c:pt>
                <c:pt idx="18">
                  <c:v>0.81368821292775662</c:v>
                </c:pt>
                <c:pt idx="19">
                  <c:v>0.86256702046175726</c:v>
                </c:pt>
                <c:pt idx="20">
                  <c:v>0.89846153846153842</c:v>
                </c:pt>
                <c:pt idx="21">
                  <c:v>0.88642451516124432</c:v>
                </c:pt>
                <c:pt idx="22">
                  <c:v>0.89964351301718914</c:v>
                </c:pt>
                <c:pt idx="23">
                  <c:v>0.84897472062493262</c:v>
                </c:pt>
                <c:pt idx="24">
                  <c:v>0.86537639007698886</c:v>
                </c:pt>
                <c:pt idx="25">
                  <c:v>0.86598176151449879</c:v>
                </c:pt>
                <c:pt idx="26">
                  <c:v>0.81882007754376518</c:v>
                </c:pt>
                <c:pt idx="27">
                  <c:v>0.81503644869981562</c:v>
                </c:pt>
                <c:pt idx="28">
                  <c:v>0.84171240395170144</c:v>
                </c:pt>
                <c:pt idx="29">
                  <c:v>0.75999529633116114</c:v>
                </c:pt>
                <c:pt idx="30">
                  <c:v>0.71824706394084381</c:v>
                </c:pt>
                <c:pt idx="31">
                  <c:v>0.80424374319912961</c:v>
                </c:pt>
                <c:pt idx="32">
                  <c:v>0.79623191656388714</c:v>
                </c:pt>
                <c:pt idx="33">
                  <c:v>0.82370464943080235</c:v>
                </c:pt>
                <c:pt idx="34">
                  <c:v>0.80458434562162007</c:v>
                </c:pt>
                <c:pt idx="35">
                  <c:v>0.77633595585981463</c:v>
                </c:pt>
                <c:pt idx="36">
                  <c:v>0.77500497116723011</c:v>
                </c:pt>
                <c:pt idx="37">
                  <c:v>0.78627471492833978</c:v>
                </c:pt>
                <c:pt idx="38">
                  <c:v>0.85013023442195967</c:v>
                </c:pt>
                <c:pt idx="39">
                  <c:v>0.89896484796204446</c:v>
                </c:pt>
                <c:pt idx="40">
                  <c:v>0.84729326513213976</c:v>
                </c:pt>
                <c:pt idx="41">
                  <c:v>0.85689467969600075</c:v>
                </c:pt>
                <c:pt idx="42">
                  <c:v>0.83888239875389403</c:v>
                </c:pt>
                <c:pt idx="43">
                  <c:v>0.85048561822936164</c:v>
                </c:pt>
                <c:pt idx="44">
                  <c:v>0.8740034999027807</c:v>
                </c:pt>
                <c:pt idx="45">
                  <c:v>0.87758559201141262</c:v>
                </c:pt>
                <c:pt idx="46">
                  <c:v>0.91380376225381965</c:v>
                </c:pt>
                <c:pt idx="47">
                  <c:v>0.8874700034281926</c:v>
                </c:pt>
              </c:numCache>
            </c:numRef>
          </c:val>
        </c:ser>
        <c:gapWidth val="300"/>
        <c:axId val="119984512"/>
        <c:axId val="119986048"/>
      </c:barChart>
      <c:catAx>
        <c:axId val="11998451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2700000"/>
          <a:lstStyle/>
          <a:p>
            <a:pPr>
              <a:defRPr/>
            </a:pPr>
            <a:endParaRPr lang="es-CL"/>
          </a:p>
        </c:txPr>
        <c:crossAx val="119986048"/>
        <c:crosses val="autoZero"/>
        <c:auto val="1"/>
        <c:lblAlgn val="ctr"/>
        <c:lblOffset val="100"/>
      </c:catAx>
      <c:valAx>
        <c:axId val="119986048"/>
        <c:scaling>
          <c:orientation val="minMax"/>
          <c:max val="1"/>
          <c:min val="0.70000000000000062"/>
        </c:scaling>
        <c:axPos val="l"/>
        <c:majorGridlines/>
        <c:numFmt formatCode="0%" sourceLinked="0"/>
        <c:tickLblPos val="nextTo"/>
        <c:crossAx val="119984512"/>
        <c:crosses val="autoZero"/>
        <c:crossBetween val="between"/>
        <c:majorUnit val="0.05"/>
      </c:valAx>
    </c:plotArea>
    <c:plotVisOnly val="1"/>
  </c:chart>
  <c:txPr>
    <a:bodyPr/>
    <a:lstStyle/>
    <a:p>
      <a:pPr>
        <a:defRPr sz="1000">
          <a:latin typeface="+mj-lt"/>
          <a:cs typeface="Times New Roman" pitchFamily="18" charset="0"/>
        </a:defRPr>
      </a:pPr>
      <a:endParaRPr lang="es-CL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892904953145917</c:v>
                </c:pt>
                <c:pt idx="1">
                  <c:v>0.85232067510549092</c:v>
                </c:pt>
                <c:pt idx="2">
                  <c:v>0.84881299458559423</c:v>
                </c:pt>
                <c:pt idx="3">
                  <c:v>0.83225806451612905</c:v>
                </c:pt>
                <c:pt idx="4">
                  <c:v>0.8500296384113909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85560000000000558</c:v>
                </c:pt>
                <c:pt idx="1">
                  <c:v>0.91810000000000003</c:v>
                </c:pt>
                <c:pt idx="2">
                  <c:v>0.81970000000000065</c:v>
                </c:pt>
                <c:pt idx="3">
                  <c:v>0.80330000000000001</c:v>
                </c:pt>
                <c:pt idx="4">
                  <c:v>0.83120000000000005</c:v>
                </c:pt>
              </c:numCache>
            </c:numRef>
          </c:val>
        </c:ser>
        <c:axId val="120092544"/>
        <c:axId val="120094080"/>
      </c:barChart>
      <c:catAx>
        <c:axId val="120092544"/>
        <c:scaling>
          <c:orientation val="minMax"/>
        </c:scaling>
        <c:axPos val="b"/>
        <c:numFmt formatCode="0.00%" sourceLinked="1"/>
        <c:tickLblPos val="nextTo"/>
        <c:crossAx val="120094080"/>
        <c:crosses val="autoZero"/>
        <c:auto val="1"/>
        <c:lblAlgn val="ctr"/>
        <c:lblOffset val="100"/>
      </c:catAx>
      <c:valAx>
        <c:axId val="120094080"/>
        <c:scaling>
          <c:orientation val="minMax"/>
          <c:max val="1"/>
          <c:min val="0.75000000000001088"/>
        </c:scaling>
        <c:axPos val="l"/>
        <c:majorGridlines/>
        <c:numFmt formatCode="0%" sourceLinked="0"/>
        <c:tickLblPos val="nextTo"/>
        <c:crossAx val="120092544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93494332183341544</c:v>
                </c:pt>
                <c:pt idx="1">
                  <c:v>0.91524443158810176</c:v>
                </c:pt>
                <c:pt idx="2">
                  <c:v>0.79434447300771205</c:v>
                </c:pt>
                <c:pt idx="3">
                  <c:v>0.88198757763975155</c:v>
                </c:pt>
                <c:pt idx="4">
                  <c:v>0.84444444444445477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93899999999999995</c:v>
                </c:pt>
                <c:pt idx="1">
                  <c:v>0.93559999999999999</c:v>
                </c:pt>
                <c:pt idx="2">
                  <c:v>0.83500000000000063</c:v>
                </c:pt>
                <c:pt idx="3">
                  <c:v>0.83609999999999995</c:v>
                </c:pt>
                <c:pt idx="4">
                  <c:v>0.86539999999999995</c:v>
                </c:pt>
              </c:numCache>
            </c:numRef>
          </c:val>
        </c:ser>
        <c:axId val="120102272"/>
        <c:axId val="121480320"/>
      </c:barChart>
      <c:catAx>
        <c:axId val="120102272"/>
        <c:scaling>
          <c:orientation val="minMax"/>
        </c:scaling>
        <c:axPos val="b"/>
        <c:numFmt formatCode="0.00%" sourceLinked="1"/>
        <c:tickLblPos val="nextTo"/>
        <c:crossAx val="121480320"/>
        <c:crosses val="autoZero"/>
        <c:auto val="1"/>
        <c:lblAlgn val="ctr"/>
        <c:lblOffset val="100"/>
      </c:catAx>
      <c:valAx>
        <c:axId val="121480320"/>
        <c:scaling>
          <c:orientation val="minMax"/>
          <c:max val="1"/>
          <c:min val="0.75000000000001088"/>
        </c:scaling>
        <c:axPos val="l"/>
        <c:majorGridlines/>
        <c:numFmt formatCode="0%" sourceLinked="0"/>
        <c:tickLblPos val="nextTo"/>
        <c:crossAx val="120102272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C$2:$C$6</c:f>
              <c:numCache>
                <c:formatCode>0.00%</c:formatCode>
                <c:ptCount val="5"/>
                <c:pt idx="0">
                  <c:v>0.94926075268819321</c:v>
                </c:pt>
                <c:pt idx="1">
                  <c:v>0.87359330018320003</c:v>
                </c:pt>
                <c:pt idx="2">
                  <c:v>0.86289120715353174</c:v>
                </c:pt>
                <c:pt idx="3">
                  <c:v>0.8728813559322034</c:v>
                </c:pt>
                <c:pt idx="4">
                  <c:v>0.855971296770905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Flota!$A$2:$A$6</c:f>
              <c:strCache>
                <c:ptCount val="5"/>
                <c:pt idx="0">
                  <c:v>A-318</c:v>
                </c:pt>
                <c:pt idx="1">
                  <c:v>A-319</c:v>
                </c:pt>
                <c:pt idx="2">
                  <c:v>A-320</c:v>
                </c:pt>
                <c:pt idx="3">
                  <c:v>A-340</c:v>
                </c:pt>
                <c:pt idx="4">
                  <c:v>B-767</c:v>
                </c:pt>
              </c:strCache>
            </c:strRef>
          </c:cat>
          <c:val>
            <c:numRef>
              <c:f>Flota!$D$2:$D$6</c:f>
              <c:numCache>
                <c:formatCode>0.00%</c:formatCode>
                <c:ptCount val="5"/>
                <c:pt idx="0">
                  <c:v>0.9355</c:v>
                </c:pt>
                <c:pt idx="1">
                  <c:v>0.92220000000000002</c:v>
                </c:pt>
                <c:pt idx="2">
                  <c:v>0.81799999999999995</c:v>
                </c:pt>
                <c:pt idx="3">
                  <c:v>0.84530000000000005</c:v>
                </c:pt>
                <c:pt idx="4">
                  <c:v>0.85360000000001224</c:v>
                </c:pt>
              </c:numCache>
            </c:numRef>
          </c:val>
        </c:ser>
        <c:axId val="121410688"/>
        <c:axId val="121412224"/>
      </c:barChart>
      <c:catAx>
        <c:axId val="121410688"/>
        <c:scaling>
          <c:orientation val="minMax"/>
        </c:scaling>
        <c:axPos val="b"/>
        <c:numFmt formatCode="0.00%" sourceLinked="1"/>
        <c:tickLblPos val="nextTo"/>
        <c:crossAx val="121412224"/>
        <c:crosses val="autoZero"/>
        <c:auto val="1"/>
        <c:lblAlgn val="ctr"/>
        <c:lblOffset val="100"/>
      </c:catAx>
      <c:valAx>
        <c:axId val="121412224"/>
        <c:scaling>
          <c:orientation val="minMax"/>
          <c:max val="1"/>
          <c:min val="0.75000000000001088"/>
        </c:scaling>
        <c:axPos val="l"/>
        <c:majorGridlines/>
        <c:numFmt formatCode="0%" sourceLinked="0"/>
        <c:tickLblPos val="nextTo"/>
        <c:crossAx val="121410688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835509138381201</c:v>
                </c:pt>
                <c:pt idx="1">
                  <c:v>0.87463556851313573</c:v>
                </c:pt>
                <c:pt idx="2">
                  <c:v>0.84963887065004895</c:v>
                </c:pt>
                <c:pt idx="3">
                  <c:v>0.88453608247421756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83560000000001211</c:v>
                </c:pt>
                <c:pt idx="1">
                  <c:v>0.80689999999999995</c:v>
                </c:pt>
                <c:pt idx="2">
                  <c:v>0.92949999999999999</c:v>
                </c:pt>
                <c:pt idx="3">
                  <c:v>0.84560000000001212</c:v>
                </c:pt>
              </c:numCache>
            </c:numRef>
          </c:val>
        </c:ser>
        <c:axId val="107355520"/>
        <c:axId val="107373696"/>
      </c:barChart>
      <c:catAx>
        <c:axId val="107355520"/>
        <c:scaling>
          <c:orientation val="minMax"/>
        </c:scaling>
        <c:axPos val="b"/>
        <c:tickLblPos val="nextTo"/>
        <c:crossAx val="107373696"/>
        <c:crosses val="autoZero"/>
        <c:auto val="1"/>
        <c:lblAlgn val="ctr"/>
        <c:lblOffset val="100"/>
      </c:catAx>
      <c:valAx>
        <c:axId val="107373696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107355520"/>
        <c:crosses val="autoZero"/>
        <c:crossBetween val="between"/>
        <c:majorUnit val="0.1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66961130742051767</c:v>
                </c:pt>
                <c:pt idx="1">
                  <c:v>0.84070796460176989</c:v>
                </c:pt>
                <c:pt idx="2">
                  <c:v>0.90810502283105021</c:v>
                </c:pt>
                <c:pt idx="3">
                  <c:v>0.92292870905587665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73699248120300764</c:v>
                </c:pt>
                <c:pt idx="1">
                  <c:v>0.89572800808899034</c:v>
                </c:pt>
                <c:pt idx="2">
                  <c:v>0.93614768105128887</c:v>
                </c:pt>
                <c:pt idx="3">
                  <c:v>0.92849775137186941</c:v>
                </c:pt>
              </c:numCache>
            </c:numRef>
          </c:val>
        </c:ser>
        <c:axId val="108479616"/>
        <c:axId val="108481152"/>
      </c:barChart>
      <c:catAx>
        <c:axId val="108479616"/>
        <c:scaling>
          <c:orientation val="minMax"/>
        </c:scaling>
        <c:axPos val="b"/>
        <c:tickLblPos val="nextTo"/>
        <c:crossAx val="108481152"/>
        <c:crosses val="autoZero"/>
        <c:auto val="1"/>
        <c:lblAlgn val="ctr"/>
        <c:lblOffset val="100"/>
      </c:catAx>
      <c:valAx>
        <c:axId val="108481152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108479616"/>
        <c:crosses val="autoZero"/>
        <c:crossBetween val="between"/>
        <c:majorUnit val="0.1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C$2:$C$5</c:f>
              <c:numCache>
                <c:formatCode>0.00%</c:formatCode>
                <c:ptCount val="4"/>
                <c:pt idx="0">
                  <c:v>0.83636363636363664</c:v>
                </c:pt>
                <c:pt idx="1">
                  <c:v>0.89497716894977153</c:v>
                </c:pt>
                <c:pt idx="2">
                  <c:v>0.87231700605393503</c:v>
                </c:pt>
                <c:pt idx="3">
                  <c:v>0.93170926517571884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EROPUERTOS!$A$2:$A$5</c:f>
              <c:strCache>
                <c:ptCount val="4"/>
                <c:pt idx="0">
                  <c:v>AEP</c:v>
                </c:pt>
                <c:pt idx="1">
                  <c:v>EZE</c:v>
                </c:pt>
                <c:pt idx="2">
                  <c:v>LIM</c:v>
                </c:pt>
                <c:pt idx="3">
                  <c:v>SCL</c:v>
                </c:pt>
              </c:strCache>
            </c:strRef>
          </c:cat>
          <c:val>
            <c:numRef>
              <c:f>AEROPUERTOS!$D$2:$D$5</c:f>
              <c:numCache>
                <c:formatCode>0.00%</c:formatCode>
                <c:ptCount val="4"/>
                <c:pt idx="0">
                  <c:v>0.76280000000000558</c:v>
                </c:pt>
                <c:pt idx="1">
                  <c:v>0.88290000000000002</c:v>
                </c:pt>
                <c:pt idx="2">
                  <c:v>0.92270000000000063</c:v>
                </c:pt>
                <c:pt idx="3">
                  <c:v>0.92759999999999998</c:v>
                </c:pt>
              </c:numCache>
            </c:numRef>
          </c:val>
        </c:ser>
        <c:axId val="106572416"/>
        <c:axId val="106582400"/>
      </c:barChart>
      <c:catAx>
        <c:axId val="106572416"/>
        <c:scaling>
          <c:orientation val="minMax"/>
        </c:scaling>
        <c:axPos val="b"/>
        <c:tickLblPos val="nextTo"/>
        <c:crossAx val="106582400"/>
        <c:crosses val="autoZero"/>
        <c:auto val="1"/>
        <c:lblAlgn val="ctr"/>
        <c:lblOffset val="100"/>
      </c:catAx>
      <c:valAx>
        <c:axId val="106582400"/>
        <c:scaling>
          <c:orientation val="minMax"/>
          <c:max val="1"/>
          <c:min val="0.60000000000000064"/>
        </c:scaling>
        <c:axPos val="l"/>
        <c:majorGridlines/>
        <c:numFmt formatCode="0%" sourceLinked="0"/>
        <c:tickLblPos val="nextTo"/>
        <c:crossAx val="106572416"/>
        <c:crosses val="autoZero"/>
        <c:crossBetween val="between"/>
        <c:majorUnit val="0.1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style val="3"/>
  <c:chart>
    <c:plotArea>
      <c:layout/>
      <c:barChart>
        <c:barDir val="col"/>
        <c:grouping val="clustered"/>
        <c:ser>
          <c:idx val="0"/>
          <c:order val="0"/>
          <c:tx>
            <c:v>Real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C$2:$C$7</c:f>
              <c:numCache>
                <c:formatCode>0.00%</c:formatCode>
                <c:ptCount val="6"/>
                <c:pt idx="0">
                  <c:v>3.23431004765296E-2</c:v>
                </c:pt>
                <c:pt idx="1">
                  <c:v>4.2684781506640984E-2</c:v>
                </c:pt>
                <c:pt idx="2">
                  <c:v>1.7945858258136878E-2</c:v>
                </c:pt>
                <c:pt idx="3">
                  <c:v>0.10767514954882176</c:v>
                </c:pt>
                <c:pt idx="4">
                  <c:v>0.14001825002535082</c:v>
                </c:pt>
                <c:pt idx="5">
                  <c:v>2.3725032951434643E-2</c:v>
                </c:pt>
              </c:numCache>
            </c:numRef>
          </c:val>
        </c:ser>
        <c:ser>
          <c:idx val="1"/>
          <c:order val="1"/>
          <c:tx>
            <c:v>Simulación</c:v>
          </c:tx>
          <c:cat>
            <c:strRef>
              <c:f>Atrasos!$B$2:$B$7</c:f>
              <c:strCache>
                <c:ptCount val="6"/>
                <c:pt idx="0">
                  <c:v>ATC</c:v>
                </c:pt>
                <c:pt idx="1">
                  <c:v>HBT</c:v>
                </c:pt>
                <c:pt idx="2">
                  <c:v>Mantto</c:v>
                </c:pt>
                <c:pt idx="3">
                  <c:v>Otros</c:v>
                </c:pt>
                <c:pt idx="4">
                  <c:v>RC</c:v>
                </c:pt>
                <c:pt idx="5">
                  <c:v>WXS</c:v>
                </c:pt>
              </c:strCache>
            </c:strRef>
          </c:cat>
          <c:val>
            <c:numRef>
              <c:f>Atrasos!$D$2:$D$7</c:f>
              <c:numCache>
                <c:formatCode>0.00%</c:formatCode>
                <c:ptCount val="6"/>
                <c:pt idx="0">
                  <c:v>2.1259198691741619E-2</c:v>
                </c:pt>
                <c:pt idx="1">
                  <c:v>0.10670042817327562</c:v>
                </c:pt>
                <c:pt idx="2">
                  <c:v>1.9909617633353603E-2</c:v>
                </c:pt>
                <c:pt idx="3">
                  <c:v>0.10843685982820322</c:v>
                </c:pt>
                <c:pt idx="4">
                  <c:v>0.13755615927694106</c:v>
                </c:pt>
                <c:pt idx="5">
                  <c:v>1.382111676733605E-2</c:v>
                </c:pt>
              </c:numCache>
            </c:numRef>
          </c:val>
        </c:ser>
        <c:axId val="106619648"/>
        <c:axId val="106621184"/>
      </c:barChart>
      <c:catAx>
        <c:axId val="106619648"/>
        <c:scaling>
          <c:orientation val="minMax"/>
        </c:scaling>
        <c:axPos val="b"/>
        <c:tickLblPos val="nextTo"/>
        <c:crossAx val="106621184"/>
        <c:crosses val="autoZero"/>
        <c:auto val="1"/>
        <c:lblAlgn val="ctr"/>
        <c:lblOffset val="100"/>
      </c:catAx>
      <c:valAx>
        <c:axId val="106621184"/>
        <c:scaling>
          <c:orientation val="minMax"/>
          <c:max val="0.15000000000000024"/>
        </c:scaling>
        <c:axPos val="l"/>
        <c:majorGridlines/>
        <c:numFmt formatCode="0%" sourceLinked="0"/>
        <c:tickLblPos val="nextTo"/>
        <c:crossAx val="106619648"/>
        <c:crosses val="autoZero"/>
        <c:crossBetween val="between"/>
        <c:majorUnit val="0.05"/>
      </c:valAx>
    </c:plotArea>
    <c:legend>
      <c:legendPos val="r"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0B7B30-052C-400D-81FA-AF55470BDB69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360DC12-1F48-4836-B139-D42CFD502F40}">
      <dgm:prSet phldrT="[Texto]" custT="1"/>
      <dgm:spPr/>
      <dgm:t>
        <a:bodyPr/>
        <a:lstStyle/>
        <a:p>
          <a:pPr algn="l"/>
          <a:r>
            <a:rPr lang="es-CL" sz="1200" dirty="0" smtClean="0"/>
            <a:t>1. Gestión de  sistemas endógenos: tripulación y mantenimiento.</a:t>
          </a:r>
        </a:p>
        <a:p>
          <a:pPr algn="l"/>
          <a:r>
            <a:rPr lang="es-CL" sz="1200" dirty="0" smtClean="0"/>
            <a:t>2. Extensibilidad de flotas y rutas. </a:t>
          </a:r>
        </a:p>
        <a:p>
          <a:pPr algn="l"/>
          <a:r>
            <a:rPr lang="es-CL" sz="1200" dirty="0" smtClean="0"/>
            <a:t>3. Incluir restricciones legales, operacionales y comerciales en recovery</a:t>
          </a:r>
        </a:p>
        <a:p>
          <a:pPr algn="l"/>
          <a:r>
            <a:rPr lang="es-CL" sz="1200" dirty="0" smtClean="0"/>
            <a:t>4. Cancelación de vuelos</a:t>
          </a:r>
        </a:p>
      </dgm:t>
    </dgm:pt>
    <dgm:pt modelId="{750550B0-0A7D-487D-98C0-3BC9CECDE10B}" type="parTrans" cxnId="{AE8ABF94-6DA2-4DF4-AECD-BB111EDF5E9E}">
      <dgm:prSet/>
      <dgm:spPr/>
      <dgm:t>
        <a:bodyPr/>
        <a:lstStyle/>
        <a:p>
          <a:endParaRPr lang="es-CL"/>
        </a:p>
      </dgm:t>
    </dgm:pt>
    <dgm:pt modelId="{A042B25E-6D27-4927-93A6-79DD047210D8}" type="sibTrans" cxnId="{AE8ABF94-6DA2-4DF4-AECD-BB111EDF5E9E}">
      <dgm:prSet/>
      <dgm:spPr/>
      <dgm:t>
        <a:bodyPr/>
        <a:lstStyle/>
        <a:p>
          <a:endParaRPr lang="es-CL"/>
        </a:p>
      </dgm:t>
    </dgm:pt>
    <dgm:pt modelId="{BF0A1FCC-152C-40C2-80D3-0ED51DF51D2D}">
      <dgm:prSet phldrT="[Texto]" custT="1"/>
      <dgm:spPr/>
      <dgm:t>
        <a:bodyPr anchor="t"/>
        <a:lstStyle/>
        <a:p>
          <a:pPr algn="l"/>
          <a:endParaRPr lang="es-CL" sz="1200" dirty="0" smtClean="0"/>
        </a:p>
        <a:p>
          <a:pPr algn="l"/>
          <a:r>
            <a:rPr lang="es-CL" sz="1200" dirty="0" smtClean="0"/>
            <a:t>1. Calibrar clima con datos de aeropuerto</a:t>
          </a:r>
        </a:p>
        <a:p>
          <a:pPr algn="l"/>
          <a:r>
            <a:rPr lang="es-CL" sz="1200" dirty="0" smtClean="0"/>
            <a:t>2. Flexibilidad para modificar </a:t>
          </a:r>
          <a:r>
            <a:rPr lang="es-CL" sz="1200" dirty="0" err="1" smtClean="0"/>
            <a:t>v.a</a:t>
          </a:r>
          <a:r>
            <a:rPr lang="es-CL" sz="1200" dirty="0" smtClean="0"/>
            <a:t> de input</a:t>
          </a:r>
        </a:p>
        <a:p>
          <a:pPr algn="l"/>
          <a:r>
            <a:rPr lang="es-CL" sz="1200" dirty="0" smtClean="0"/>
            <a:t>3. Integración de generador de input de itinerario</a:t>
          </a:r>
          <a:endParaRPr lang="es-CL" sz="1200" dirty="0"/>
        </a:p>
      </dgm:t>
    </dgm:pt>
    <dgm:pt modelId="{B939A622-9893-430A-9911-2763F9C91B7D}" type="parTrans" cxnId="{EEB149C2-916F-4C32-B184-263A83B46316}">
      <dgm:prSet/>
      <dgm:spPr/>
      <dgm:t>
        <a:bodyPr/>
        <a:lstStyle/>
        <a:p>
          <a:endParaRPr lang="es-CL"/>
        </a:p>
      </dgm:t>
    </dgm:pt>
    <dgm:pt modelId="{2738A6D6-FAC5-4B9C-92F4-808A2127B860}" type="sibTrans" cxnId="{EEB149C2-916F-4C32-B184-263A83B46316}">
      <dgm:prSet/>
      <dgm:spPr/>
      <dgm:t>
        <a:bodyPr/>
        <a:lstStyle/>
        <a:p>
          <a:endParaRPr lang="es-CL"/>
        </a:p>
      </dgm:t>
    </dgm:pt>
    <dgm:pt modelId="{AB708920-BB8E-42F9-A9AD-846BA95841CF}">
      <dgm:prSet phldrT="[Texto]" custT="1"/>
      <dgm:spPr/>
      <dgm:t>
        <a:bodyPr anchor="t"/>
        <a:lstStyle/>
        <a:p>
          <a:pPr algn="l"/>
          <a:r>
            <a:rPr lang="es-CL" sz="1200" dirty="0" smtClean="0"/>
            <a:t>1. Forzar disrupciones</a:t>
          </a:r>
        </a:p>
        <a:p>
          <a:pPr algn="l"/>
          <a:r>
            <a:rPr lang="es-CL" sz="1200" dirty="0" smtClean="0"/>
            <a:t>2. Configuraciones preestablecidas</a:t>
          </a:r>
        </a:p>
        <a:p>
          <a:pPr algn="l"/>
          <a:r>
            <a:rPr lang="es-CL" sz="1200" dirty="0" smtClean="0"/>
            <a:t>3. Interfaz usuario</a:t>
          </a:r>
        </a:p>
        <a:p>
          <a:pPr algn="l"/>
          <a:r>
            <a:rPr lang="es-CL" sz="1200" dirty="0" smtClean="0"/>
            <a:t>4. Módulo especial de aviones de </a:t>
          </a:r>
          <a:r>
            <a:rPr lang="es-CL" sz="1200" dirty="0" err="1" smtClean="0"/>
            <a:t>backup</a:t>
          </a:r>
          <a:endParaRPr lang="es-CL" sz="1200" dirty="0"/>
        </a:p>
      </dgm:t>
    </dgm:pt>
    <dgm:pt modelId="{9EACB639-4BAD-4708-8EC8-1196CE2E7CAC}" type="parTrans" cxnId="{E8D82990-A055-4D12-ADAB-786DED190704}">
      <dgm:prSet/>
      <dgm:spPr/>
      <dgm:t>
        <a:bodyPr/>
        <a:lstStyle/>
        <a:p>
          <a:endParaRPr lang="es-CL"/>
        </a:p>
      </dgm:t>
    </dgm:pt>
    <dgm:pt modelId="{132E9436-FE22-4A73-92D1-90D4C47C8610}" type="sibTrans" cxnId="{E8D82990-A055-4D12-ADAB-786DED190704}">
      <dgm:prSet/>
      <dgm:spPr/>
      <dgm:t>
        <a:bodyPr/>
        <a:lstStyle/>
        <a:p>
          <a:endParaRPr lang="es-CL"/>
        </a:p>
      </dgm:t>
    </dgm:pt>
    <dgm:pt modelId="{95C826D3-DD29-4FB9-A72C-FA783199D66C}">
      <dgm:prSet phldrT="[Texto]" custT="1"/>
      <dgm:spPr/>
      <dgm:t>
        <a:bodyPr anchor="t"/>
        <a:lstStyle/>
        <a:p>
          <a:pPr algn="l"/>
          <a:r>
            <a:rPr lang="es-CL" sz="1200" dirty="0" smtClean="0"/>
            <a:t>1. Hacer explícitos los mantenimientos programados </a:t>
          </a:r>
        </a:p>
        <a:p>
          <a:pPr algn="l"/>
          <a:r>
            <a:rPr lang="es-CL" sz="1200" dirty="0" smtClean="0"/>
            <a:t>2. Relaciones de dependencia entre disrupciones</a:t>
          </a:r>
        </a:p>
        <a:p>
          <a:pPr algn="l"/>
          <a:r>
            <a:rPr lang="es-CL" sz="1200" dirty="0" smtClean="0"/>
            <a:t>3. Recuperar T/A  aleatorio</a:t>
          </a:r>
        </a:p>
        <a:p>
          <a:pPr algn="l"/>
          <a:r>
            <a:rPr lang="es-CL" sz="1200" dirty="0" smtClean="0"/>
            <a:t>4. Desagregar  atraso “Otros”</a:t>
          </a:r>
        </a:p>
        <a:p>
          <a:pPr algn="l"/>
          <a:r>
            <a:rPr lang="es-CL" sz="1200" dirty="0" smtClean="0"/>
            <a:t>5. Vuelos en conexión</a:t>
          </a:r>
          <a:endParaRPr lang="es-CL" sz="1200" dirty="0"/>
        </a:p>
      </dgm:t>
    </dgm:pt>
    <dgm:pt modelId="{6CAA08CC-C100-467D-A431-9746BBFAFDFA}" type="parTrans" cxnId="{8D1C30CB-360F-4B24-B2DE-1C340CFA87EF}">
      <dgm:prSet/>
      <dgm:spPr/>
      <dgm:t>
        <a:bodyPr/>
        <a:lstStyle/>
        <a:p>
          <a:endParaRPr lang="es-CL"/>
        </a:p>
      </dgm:t>
    </dgm:pt>
    <dgm:pt modelId="{781231EB-9B09-43D7-83FF-D8A5DD0BC5C7}" type="sibTrans" cxnId="{8D1C30CB-360F-4B24-B2DE-1C340CFA87EF}">
      <dgm:prSet/>
      <dgm:spPr/>
      <dgm:t>
        <a:bodyPr/>
        <a:lstStyle/>
        <a:p>
          <a:endParaRPr lang="es-CL"/>
        </a:p>
      </dgm:t>
    </dgm:pt>
    <dgm:pt modelId="{66B04895-B8C2-488A-89EC-AF1942FCF309}" type="pres">
      <dgm:prSet presAssocID="{DF0B7B30-052C-400D-81FA-AF55470BDB69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E54D7E98-C3CD-4ECF-839F-39F6556ABE8D}" type="pres">
      <dgm:prSet presAssocID="{DF0B7B30-052C-400D-81FA-AF55470BDB69}" presName="diamond" presStyleLbl="bgShp" presStyleIdx="0" presStyleCnt="1" custLinFactNeighborY="-1370"/>
      <dgm:spPr/>
    </dgm:pt>
    <dgm:pt modelId="{8E403B85-2E9E-477F-9172-3FFD00446DC2}" type="pres">
      <dgm:prSet presAssocID="{DF0B7B30-052C-400D-81FA-AF55470BDB69}" presName="quad1" presStyleLbl="node1" presStyleIdx="0" presStyleCnt="4" custScaleX="119212" custLinFactY="7464" custLinFactNeighborX="-14050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19F96AC-502F-4624-9074-FF1E84D4B195}" type="pres">
      <dgm:prSet presAssocID="{DF0B7B30-052C-400D-81FA-AF55470BDB69}" presName="quad2" presStyleLbl="node1" presStyleIdx="1" presStyleCnt="4" custScaleX="116823" custLinFactNeighborX="70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994201E-BE5F-400E-9890-4A114BB58649}" type="pres">
      <dgm:prSet presAssocID="{DF0B7B30-052C-400D-81FA-AF55470BDB69}" presName="quad3" presStyleLbl="node1" presStyleIdx="2" presStyleCnt="4" custScaleX="119637" custLinFactY="-7464" custLinFactNeighborX="-13837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9BDB2F1-4CB5-45D3-A6FB-5F1D5236C4C9}" type="pres">
      <dgm:prSet presAssocID="{DF0B7B30-052C-400D-81FA-AF55470BDB69}" presName="quad4" presStyleLbl="node1" presStyleIdx="3" presStyleCnt="4" custScaleX="117773" custLinFactNeighborX="75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16200DA1-D6C2-451A-A783-7B45F3910212}" type="presOf" srcId="{DF0B7B30-052C-400D-81FA-AF55470BDB69}" destId="{66B04895-B8C2-488A-89EC-AF1942FCF309}" srcOrd="0" destOrd="0" presId="urn:microsoft.com/office/officeart/2005/8/layout/matrix3"/>
    <dgm:cxn modelId="{646BB82F-958C-4283-B112-0CD14BDBE745}" type="presOf" srcId="{BF0A1FCC-152C-40C2-80D3-0ED51DF51D2D}" destId="{2994201E-BE5F-400E-9890-4A114BB58649}" srcOrd="0" destOrd="0" presId="urn:microsoft.com/office/officeart/2005/8/layout/matrix3"/>
    <dgm:cxn modelId="{F4134CC7-C9D5-4ADD-BB20-D704C6046C1E}" type="presOf" srcId="{0360DC12-1F48-4836-B139-D42CFD502F40}" destId="{8E403B85-2E9E-477F-9172-3FFD00446DC2}" srcOrd="0" destOrd="0" presId="urn:microsoft.com/office/officeart/2005/8/layout/matrix3"/>
    <dgm:cxn modelId="{E8D82990-A055-4D12-ADAB-786DED190704}" srcId="{DF0B7B30-052C-400D-81FA-AF55470BDB69}" destId="{AB708920-BB8E-42F9-A9AD-846BA95841CF}" srcOrd="3" destOrd="0" parTransId="{9EACB639-4BAD-4708-8EC8-1196CE2E7CAC}" sibTransId="{132E9436-FE22-4A73-92D1-90D4C47C8610}"/>
    <dgm:cxn modelId="{8D1C30CB-360F-4B24-B2DE-1C340CFA87EF}" srcId="{DF0B7B30-052C-400D-81FA-AF55470BDB69}" destId="{95C826D3-DD29-4FB9-A72C-FA783199D66C}" srcOrd="1" destOrd="0" parTransId="{6CAA08CC-C100-467D-A431-9746BBFAFDFA}" sibTransId="{781231EB-9B09-43D7-83FF-D8A5DD0BC5C7}"/>
    <dgm:cxn modelId="{EEB149C2-916F-4C32-B184-263A83B46316}" srcId="{DF0B7B30-052C-400D-81FA-AF55470BDB69}" destId="{BF0A1FCC-152C-40C2-80D3-0ED51DF51D2D}" srcOrd="2" destOrd="0" parTransId="{B939A622-9893-430A-9911-2763F9C91B7D}" sibTransId="{2738A6D6-FAC5-4B9C-92F4-808A2127B860}"/>
    <dgm:cxn modelId="{AE8ABF94-6DA2-4DF4-AECD-BB111EDF5E9E}" srcId="{DF0B7B30-052C-400D-81FA-AF55470BDB69}" destId="{0360DC12-1F48-4836-B139-D42CFD502F40}" srcOrd="0" destOrd="0" parTransId="{750550B0-0A7D-487D-98C0-3BC9CECDE10B}" sibTransId="{A042B25E-6D27-4927-93A6-79DD047210D8}"/>
    <dgm:cxn modelId="{B630E67A-EE75-47D0-B6BD-C85F402DF8E2}" type="presOf" srcId="{95C826D3-DD29-4FB9-A72C-FA783199D66C}" destId="{619F96AC-502F-4624-9074-FF1E84D4B195}" srcOrd="0" destOrd="0" presId="urn:microsoft.com/office/officeart/2005/8/layout/matrix3"/>
    <dgm:cxn modelId="{16861CD0-BD9A-4C73-A695-9BEA7E330CDD}" type="presOf" srcId="{AB708920-BB8E-42F9-A9AD-846BA95841CF}" destId="{69BDB2F1-4CB5-45D3-A6FB-5F1D5236C4C9}" srcOrd="0" destOrd="0" presId="urn:microsoft.com/office/officeart/2005/8/layout/matrix3"/>
    <dgm:cxn modelId="{F6FC282A-D96F-4C6B-A719-AA884E2EB101}" type="presParOf" srcId="{66B04895-B8C2-488A-89EC-AF1942FCF309}" destId="{E54D7E98-C3CD-4ECF-839F-39F6556ABE8D}" srcOrd="0" destOrd="0" presId="urn:microsoft.com/office/officeart/2005/8/layout/matrix3"/>
    <dgm:cxn modelId="{8FBC2890-B3F9-41FD-B1DA-A2BC78DAC0BB}" type="presParOf" srcId="{66B04895-B8C2-488A-89EC-AF1942FCF309}" destId="{8E403B85-2E9E-477F-9172-3FFD00446DC2}" srcOrd="1" destOrd="0" presId="urn:microsoft.com/office/officeart/2005/8/layout/matrix3"/>
    <dgm:cxn modelId="{4F5886BF-AE5E-45CA-8384-8D4C39E2BB02}" type="presParOf" srcId="{66B04895-B8C2-488A-89EC-AF1942FCF309}" destId="{619F96AC-502F-4624-9074-FF1E84D4B195}" srcOrd="2" destOrd="0" presId="urn:microsoft.com/office/officeart/2005/8/layout/matrix3"/>
    <dgm:cxn modelId="{0575F5D2-768E-447C-BA14-6556650C6C40}" type="presParOf" srcId="{66B04895-B8C2-488A-89EC-AF1942FCF309}" destId="{2994201E-BE5F-400E-9890-4A114BB58649}" srcOrd="3" destOrd="0" presId="urn:microsoft.com/office/officeart/2005/8/layout/matrix3"/>
    <dgm:cxn modelId="{73C42923-5A77-4A24-98E4-73B676FF4E82}" type="presParOf" srcId="{66B04895-B8C2-488A-89EC-AF1942FCF309}" destId="{69BDB2F1-4CB5-45D3-A6FB-5F1D5236C4C9}" srcOrd="4" destOrd="0" presId="urn:microsoft.com/office/officeart/2005/8/layout/matrix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8B4CB-A846-42C2-B498-693F21624C37}" type="datetimeFigureOut">
              <a:rPr lang="es-CL" smtClean="0"/>
              <a:pPr/>
              <a:t>17-06-2010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96AA8F-A80C-47D4-A71B-5E4729FAA29D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F1B6228-E697-4786-80BC-3F043071FEE2}" type="datetimeFigureOut">
              <a:rPr lang="es-ES"/>
              <a:pPr>
                <a:defRPr/>
              </a:pPr>
              <a:t>17/06/2010</a:t>
            </a:fld>
            <a:endParaRPr lang="es-E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D570A1FA-0765-4FB4-9C69-955337D4FC0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1 MIN</a:t>
            </a:r>
            <a:endParaRPr lang="es-CL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BRIR INTERFAZ</a:t>
            </a:r>
            <a:endParaRPr lang="es-CL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NFASIS EN RELACION</a:t>
            </a:r>
            <a:r>
              <a:rPr lang="es-CL" baseline="0" dirty="0" smtClean="0"/>
              <a:t> DATO – FACTORES</a:t>
            </a:r>
          </a:p>
          <a:p>
            <a:r>
              <a:rPr lang="es-CL" baseline="0" dirty="0" smtClean="0"/>
              <a:t>80 AEROPUERTOS</a:t>
            </a:r>
          </a:p>
          <a:p>
            <a:r>
              <a:rPr lang="es-CL" baseline="0" dirty="0" smtClean="0"/>
              <a:t>70 AVIONES</a:t>
            </a:r>
          </a:p>
          <a:p>
            <a:r>
              <a:rPr lang="es-CL" baseline="0" dirty="0" smtClean="0"/>
              <a:t>2700 TRAMOS DISTINTOS EN UN ITINERARIO</a:t>
            </a:r>
            <a:endParaRPr lang="es-CL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NAC: permite </a:t>
            </a:r>
            <a:r>
              <a:rPr lang="es-CL" dirty="0" err="1" smtClean="0"/>
              <a:t>comprarción</a:t>
            </a:r>
            <a:r>
              <a:rPr lang="es-CL" dirty="0" smtClean="0"/>
              <a:t> efectiva</a:t>
            </a:r>
          </a:p>
          <a:p>
            <a:endParaRPr lang="es-CL" dirty="0" smtClean="0"/>
          </a:p>
          <a:p>
            <a:r>
              <a:rPr lang="es-CL" dirty="0" smtClean="0"/>
              <a:t>ESTRUCTURAS: lo</a:t>
            </a:r>
            <a:r>
              <a:rPr lang="es-CL" baseline="0" dirty="0" smtClean="0"/>
              <a:t> innovador </a:t>
            </a:r>
            <a:r>
              <a:rPr lang="es-CL" baseline="0" dirty="0" smtClean="0">
                <a:sym typeface="Wingdings" pitchFamily="2" charset="2"/>
              </a:rPr>
              <a:t> eficiencia</a:t>
            </a:r>
            <a:endParaRPr lang="es-CL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Uso actual.. Ver</a:t>
            </a:r>
            <a:r>
              <a:rPr lang="es-CL" baseline="0" dirty="0" smtClean="0"/>
              <a:t> documento</a:t>
            </a:r>
            <a:endParaRPr lang="es-CL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Puntualidad </a:t>
            </a:r>
            <a:r>
              <a:rPr lang="es-CL" dirty="0" err="1" smtClean="0"/>
              <a:t>historica</a:t>
            </a:r>
            <a:r>
              <a:rPr lang="es-CL" dirty="0" smtClean="0"/>
              <a:t>.. Alta variabilidad </a:t>
            </a:r>
            <a:r>
              <a:rPr lang="es-CL" dirty="0" smtClean="0">
                <a:sym typeface="Wingdings" pitchFamily="2" charset="2"/>
              </a:rPr>
              <a:t> el ajuste es bueno</a:t>
            </a:r>
            <a:endParaRPr lang="es-CL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ENDENCIA POCO CLARA.. RESULTADOS ACEPTABLES</a:t>
            </a:r>
            <a:endParaRPr lang="es-CL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LIMA SOBREDOTADO.. TRAMOS CORTOS</a:t>
            </a:r>
            <a:endParaRPr lang="es-CL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smtClean="0"/>
              <a:t>Clima deficiente</a:t>
            </a:r>
          </a:p>
          <a:p>
            <a:r>
              <a:rPr lang="es-CL" smtClean="0"/>
              <a:t>HBT alto</a:t>
            </a:r>
            <a:endParaRPr lang="es-CL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otal esperado 30 – 20</a:t>
            </a:r>
            <a:r>
              <a:rPr lang="es-CL" baseline="0" dirty="0" smtClean="0"/>
              <a:t> - </a:t>
            </a:r>
            <a:r>
              <a:rPr lang="es-CL" dirty="0" smtClean="0"/>
              <a:t>40 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Diciembre 2008</a:t>
            </a:r>
            <a:endParaRPr lang="es-CL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2 MIN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n precedentes en LAN..</a:t>
            </a:r>
            <a:r>
              <a:rPr lang="es-CL" baseline="0" dirty="0" smtClean="0"/>
              <a:t> Todo manual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dirty="0" smtClean="0"/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mula la operación de itinerarios de vuelo:</a:t>
            </a:r>
            <a:r>
              <a:rPr lang="es-CL" baseline="0" dirty="0" smtClean="0"/>
              <a:t> no considera ni pasajeros ni tripulantes</a:t>
            </a:r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Capacidad</a:t>
            </a:r>
          </a:p>
          <a:p>
            <a:r>
              <a:rPr lang="es-CL" dirty="0" smtClean="0"/>
              <a:t>Airbus 340: 295-335-3</a:t>
            </a:r>
            <a:r>
              <a:rPr lang="es-CL" baseline="0" dirty="0" smtClean="0"/>
              <a:t> 75</a:t>
            </a:r>
          </a:p>
          <a:p>
            <a:r>
              <a:rPr lang="es-CL" baseline="0" dirty="0" smtClean="0"/>
              <a:t>Airbus 320:  148-180</a:t>
            </a:r>
          </a:p>
          <a:p>
            <a:r>
              <a:rPr lang="es-CL" baseline="0" dirty="0" smtClean="0"/>
              <a:t>Airbus 319: 124-156</a:t>
            </a:r>
          </a:p>
          <a:p>
            <a:r>
              <a:rPr lang="es-CL" baseline="0" dirty="0" smtClean="0"/>
              <a:t>Airbus 318:  100-117</a:t>
            </a:r>
          </a:p>
          <a:p>
            <a:r>
              <a:rPr lang="es-CL" baseline="0" dirty="0" smtClean="0"/>
              <a:t>Boeing 767: 218-269-350</a:t>
            </a:r>
            <a:endParaRPr lang="es-CL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Tramos</a:t>
            </a:r>
          </a:p>
          <a:p>
            <a:r>
              <a:rPr lang="es-CL" dirty="0" smtClean="0"/>
              <a:t>Holguras</a:t>
            </a:r>
          </a:p>
          <a:p>
            <a:r>
              <a:rPr lang="es-CL" dirty="0" err="1" smtClean="0"/>
              <a:t>Turn</a:t>
            </a:r>
            <a:r>
              <a:rPr lang="es-CL" dirty="0" smtClean="0"/>
              <a:t>- </a:t>
            </a:r>
            <a:r>
              <a:rPr lang="es-CL" dirty="0" err="1" smtClean="0"/>
              <a:t>Around</a:t>
            </a:r>
            <a:endParaRPr lang="es-CL" dirty="0" smtClean="0"/>
          </a:p>
          <a:p>
            <a:endParaRPr lang="es-CL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</a:t>
            </a:r>
            <a:r>
              <a:rPr lang="es-CL" baseline="0" dirty="0" smtClean="0"/>
              <a:t> aviones</a:t>
            </a:r>
          </a:p>
          <a:p>
            <a:r>
              <a:rPr lang="es-CL" baseline="0" dirty="0" smtClean="0"/>
              <a:t> - atrasado</a:t>
            </a:r>
          </a:p>
          <a:p>
            <a:r>
              <a:rPr lang="es-CL" baseline="0" dirty="0" smtClean="0"/>
              <a:t> - no atrasado</a:t>
            </a:r>
          </a:p>
          <a:p>
            <a:r>
              <a:rPr lang="es-CL" baseline="0" dirty="0" smtClean="0"/>
              <a:t>Tiempos: </a:t>
            </a:r>
            <a:r>
              <a:rPr lang="es-CL" baseline="0" dirty="0" err="1" smtClean="0"/>
              <a:t>linea</a:t>
            </a:r>
            <a:r>
              <a:rPr lang="es-CL" baseline="0" dirty="0" smtClean="0"/>
              <a:t> temporal (parte de un día)</a:t>
            </a:r>
          </a:p>
          <a:p>
            <a:r>
              <a:rPr lang="es-CL" baseline="0" dirty="0" smtClean="0"/>
              <a:t>Tiempo actual</a:t>
            </a:r>
          </a:p>
          <a:p>
            <a:endParaRPr lang="es-CL" baseline="0" dirty="0" smtClean="0"/>
          </a:p>
          <a:p>
            <a:r>
              <a:rPr lang="es-CL" baseline="0" dirty="0" smtClean="0"/>
              <a:t>Se busca coincidencia de origen y destino, que produzca ganancia de minutos</a:t>
            </a:r>
            <a:endParaRPr lang="es-CL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 factible de rotar…</a:t>
            </a:r>
          </a:p>
          <a:p>
            <a:r>
              <a:rPr lang="es-CL" dirty="0" smtClean="0"/>
              <a:t>Profundidad= 2</a:t>
            </a:r>
            <a:endParaRPr lang="es-CL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Segundo tramo factible de rotar con el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</a:t>
            </a:r>
            <a:r>
              <a:rPr lang="es-CL" baseline="0" dirty="0" smtClean="0"/>
              <a:t> de B  se asignan a </a:t>
            </a:r>
            <a:r>
              <a:rPr lang="es-CL" baseline="0" dirty="0" err="1" smtClean="0"/>
              <a:t>A</a:t>
            </a:r>
            <a:endParaRPr lang="es-CL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 de A (atrasados)</a:t>
            </a:r>
            <a:r>
              <a:rPr lang="es-CL" baseline="0" dirty="0" smtClean="0"/>
              <a:t> se asignan a B</a:t>
            </a:r>
            <a:endParaRPr lang="es-CL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sultado:</a:t>
            </a:r>
          </a:p>
          <a:p>
            <a:pPr>
              <a:buFontTx/>
              <a:buChar char="-"/>
            </a:pPr>
            <a:r>
              <a:rPr lang="es-CL" dirty="0" smtClean="0"/>
              <a:t>Se elimina el atraso en los tramos</a:t>
            </a:r>
            <a:r>
              <a:rPr lang="es-CL" baseline="0" dirty="0" smtClean="0"/>
              <a:t> antes rojos… 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Los 2 reasignados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El posterior SCL-EZE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baseline="0" dirty="0" smtClean="0"/>
              <a:t>Diseño depende de red, flotas, competencia, pronóstico de demanda, bases de </a:t>
            </a:r>
            <a:r>
              <a:rPr lang="es-CL" baseline="0" dirty="0" err="1" smtClean="0"/>
              <a:t>mantto</a:t>
            </a:r>
            <a:r>
              <a:rPr lang="es-CL" baseline="0" dirty="0" smtClean="0"/>
              <a:t> y tripulaciones, plan estratégico de la compañía.</a:t>
            </a:r>
          </a:p>
          <a:p>
            <a:endParaRPr lang="es-CL" baseline="0" dirty="0" smtClean="0"/>
          </a:p>
          <a:p>
            <a:r>
              <a:rPr lang="es-CL" baseline="0" dirty="0" smtClean="0"/>
              <a:t>Asignación de matrículas: considera </a:t>
            </a:r>
            <a:r>
              <a:rPr lang="es-CL" baseline="0" dirty="0" err="1" smtClean="0"/>
              <a:t>mentenimientos</a:t>
            </a:r>
            <a:endParaRPr lang="es-C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traso reaccionario</a:t>
            </a:r>
          </a:p>
          <a:p>
            <a:r>
              <a:rPr lang="es-CL" dirty="0" smtClean="0"/>
              <a:t>Nombrar Efecto Dominó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3"/>
            <a:r>
              <a:rPr lang="es-CL" dirty="0" smtClean="0"/>
              <a:t>Robustez: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1. Minimizar el costo esperado de operar el itinerario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2. Minimizar el atraso y disrupciones de pasajeros o avione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3. Ante una disrupción, recuperar fácilmente el avión, su tripulación y/o sus pasajero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4. Prevenir la propagación de atrasos reaccionarios.</a:t>
            </a:r>
          </a:p>
          <a:p>
            <a:pPr lvl="3"/>
            <a:endParaRPr lang="es-CL" dirty="0" smtClean="0"/>
          </a:p>
          <a:p>
            <a:pPr lvl="3"/>
            <a:r>
              <a:rPr lang="es-CL" dirty="0" smtClean="0"/>
              <a:t>Muy distantes</a:t>
            </a:r>
          </a:p>
          <a:p>
            <a:pPr lvl="3"/>
            <a:r>
              <a:rPr lang="es-CL" dirty="0" smtClean="0"/>
              <a:t>Retroalimentación lenta y sin fundamento</a:t>
            </a:r>
            <a:r>
              <a:rPr lang="es-CL" i="1" dirty="0" smtClean="0"/>
              <a:t>	</a:t>
            </a:r>
          </a:p>
          <a:p>
            <a:r>
              <a:rPr lang="es-CL" dirty="0" smtClean="0"/>
              <a:t>Calidad de servicio:</a:t>
            </a:r>
          </a:p>
          <a:p>
            <a:pPr marL="228600" indent="-228600">
              <a:buAutoNum type="arabicPeriod"/>
            </a:pPr>
            <a:r>
              <a:rPr lang="es-CL" dirty="0" smtClean="0"/>
              <a:t>Atención al cliente</a:t>
            </a:r>
          </a:p>
          <a:p>
            <a:pPr marL="228600" indent="-228600">
              <a:buAutoNum type="arabicPeriod"/>
            </a:pPr>
            <a:r>
              <a:rPr lang="es-CL" dirty="0" smtClean="0"/>
              <a:t>Servicio</a:t>
            </a:r>
            <a:r>
              <a:rPr lang="es-CL" baseline="0" dirty="0" smtClean="0"/>
              <a:t> a bordo</a:t>
            </a:r>
          </a:p>
          <a:p>
            <a:pPr marL="228600" indent="-228600">
              <a:buAutoNum type="arabicPeriod"/>
            </a:pPr>
            <a:r>
              <a:rPr lang="es-CL" baseline="0" dirty="0" smtClean="0"/>
              <a:t>Puntualidad!</a:t>
            </a:r>
            <a:endParaRPr lang="es-CL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cursos humanos </a:t>
            </a:r>
            <a:r>
              <a:rPr lang="es-CL" dirty="0" smtClean="0">
                <a:sym typeface="Wingdings" pitchFamily="2" charset="2"/>
              </a:rPr>
              <a:t> tripulación y mantenedores</a:t>
            </a:r>
            <a:endParaRPr lang="es-CL" dirty="0" smtClean="0"/>
          </a:p>
          <a:p>
            <a:r>
              <a:rPr lang="es-CL" dirty="0" smtClean="0"/>
              <a:t>Mantenimientos</a:t>
            </a:r>
            <a:r>
              <a:rPr lang="es-CL" baseline="0" dirty="0" smtClean="0"/>
              <a:t> </a:t>
            </a:r>
            <a:r>
              <a:rPr lang="es-CL" baseline="0" dirty="0" smtClean="0">
                <a:sym typeface="Wingdings" pitchFamily="2" charset="2"/>
              </a:rPr>
              <a:t> Holguras</a:t>
            </a:r>
          </a:p>
          <a:p>
            <a:r>
              <a:rPr lang="es-CL" baseline="0" dirty="0" smtClean="0">
                <a:sym typeface="Wingdings" pitchFamily="2" charset="2"/>
              </a:rPr>
              <a:t>Sin pasajeros… unidad elemental: TRAMO</a:t>
            </a:r>
            <a:endParaRPr lang="es-CL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HBT como reaccionario de atraso en vuelo del tramo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ventos</a:t>
            </a:r>
          </a:p>
          <a:p>
            <a:r>
              <a:rPr lang="es-CL" dirty="0" smtClean="0"/>
              <a:t>Estados</a:t>
            </a:r>
          </a:p>
          <a:p>
            <a:r>
              <a:rPr lang="es-CL" dirty="0" smtClean="0"/>
              <a:t>Disrupciones:</a:t>
            </a:r>
            <a:r>
              <a:rPr lang="es-CL" baseline="0" dirty="0" smtClean="0"/>
              <a:t> donde afectan</a:t>
            </a:r>
            <a:endParaRPr lang="es-CL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3048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Conector recto"/>
          <p:cNvSpPr>
            <a:spLocks noChangeShapeType="1"/>
          </p:cNvSpPr>
          <p:nvPr/>
        </p:nvSpPr>
        <p:spPr bwMode="auto">
          <a:xfrm>
            <a:off x="155448" y="2420112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A032EA1D-FAEE-4A27-BD29-C1C0F5C1043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EA8E1D-5777-4BBA-ADA4-5805528E212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7010400" y="0"/>
            <a:ext cx="2133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Conector recto"/>
          <p:cNvSpPr>
            <a:spLocks noChangeShapeType="1"/>
          </p:cNvSpPr>
          <p:nvPr/>
        </p:nvSpPr>
        <p:spPr bwMode="auto">
          <a:xfrm rot="5400000">
            <a:off x="4021836" y="3278124"/>
            <a:ext cx="6245352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6839712" y="2925763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6934200" y="3020251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15912" y="3009901"/>
            <a:ext cx="457200" cy="441325"/>
          </a:xfrm>
        </p:spPr>
        <p:txBody>
          <a:bodyPr/>
          <a:lstStyle/>
          <a:p>
            <a:pPr>
              <a:defRPr/>
            </a:pPr>
            <a:fld id="{50E7B4FC-1EB5-40DC-B707-96A31D638D5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553200" cy="5821366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391400" y="304801"/>
            <a:ext cx="1447800" cy="5851525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61688" y="1026372"/>
            <a:ext cx="457200" cy="441325"/>
          </a:xfrm>
        </p:spPr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1905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152400" y="2286000"/>
            <a:ext cx="8833104" cy="304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5448" y="142352"/>
            <a:ext cx="8833104" cy="2139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68426" y="2743200"/>
            <a:ext cx="6480174" cy="1673225"/>
          </a:xfrm>
        </p:spPr>
        <p:txBody>
          <a:bodyPr anchor="t"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152400" y="2438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B9C215A0-7F63-41D8-AB21-6E7609FAF12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533400"/>
            <a:ext cx="7772400" cy="1524000"/>
          </a:xfrm>
        </p:spPr>
        <p:txBody>
          <a:bodyPr anchor="b"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91200" y="640994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CA7CFC-2D26-4C86-ADC7-142FEE37EC9F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 flipV="1">
            <a:off x="4563080" y="1575652"/>
            <a:ext cx="8921" cy="4819557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Marcador de contenido"/>
          <p:cNvSpPr>
            <a:spLocks noGrp="1"/>
          </p:cNvSpPr>
          <p:nvPr>
            <p:ph sz="half" idx="1"/>
          </p:nvPr>
        </p:nvSpPr>
        <p:spPr>
          <a:xfrm>
            <a:off x="301752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2" name="11 Marcador de contenido"/>
          <p:cNvSpPr>
            <a:spLocks noGrp="1"/>
          </p:cNvSpPr>
          <p:nvPr>
            <p:ph sz="half" idx="2"/>
          </p:nvPr>
        </p:nvSpPr>
        <p:spPr>
          <a:xfrm>
            <a:off x="4800600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onector recto"/>
          <p:cNvSpPr>
            <a:spLocks noChangeShapeType="1"/>
          </p:cNvSpPr>
          <p:nvPr/>
        </p:nvSpPr>
        <p:spPr bwMode="auto">
          <a:xfrm flipV="1">
            <a:off x="4572000" y="2200275"/>
            <a:ext cx="0" cy="4187952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white">
          <a:xfrm>
            <a:off x="0" y="0"/>
            <a:ext cx="9144000" cy="1447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152400" y="1371600"/>
            <a:ext cx="8833104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5923" y="6391656"/>
            <a:ext cx="8833104" cy="31089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4040188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91330" y="1524000"/>
            <a:ext cx="4041775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4800" y="6409944"/>
            <a:ext cx="358140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15" name="14 Conector recto"/>
          <p:cNvSpPr>
            <a:spLocks noChangeShapeType="1"/>
          </p:cNvSpPr>
          <p:nvPr/>
        </p:nvSpPr>
        <p:spPr bwMode="auto">
          <a:xfrm>
            <a:off x="152400" y="128016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4" name="23 Marcador de contenido"/>
          <p:cNvSpPr>
            <a:spLocks noGrp="1"/>
          </p:cNvSpPr>
          <p:nvPr>
            <p:ph sz="quarter" idx="2"/>
          </p:nvPr>
        </p:nvSpPr>
        <p:spPr>
          <a:xfrm>
            <a:off x="301752" y="2471383"/>
            <a:ext cx="4041648" cy="3818404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contenido"/>
          <p:cNvSpPr>
            <a:spLocks noGrp="1"/>
          </p:cNvSpPr>
          <p:nvPr>
            <p:ph sz="quarter" idx="4"/>
          </p:nvPr>
        </p:nvSpPr>
        <p:spPr>
          <a:xfrm>
            <a:off x="4800600" y="2471383"/>
            <a:ext cx="4038600" cy="3822192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5" name="24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42416"/>
            <a:ext cx="457200" cy="4413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3C1858B-2F9F-46C6-8A1A-3547401FC15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3" name="22 Título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36020"/>
            <a:ext cx="457200" cy="441325"/>
          </a:xfrm>
        </p:spPr>
        <p:txBody>
          <a:bodyPr/>
          <a:lstStyle/>
          <a:p>
            <a:pPr>
              <a:defRPr/>
            </a:pPr>
            <a:fld id="{F89942A3-BBD4-4136-9347-17CFF1D4E163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6" name="5 Rectángulo"/>
          <p:cNvSpPr>
            <a:spLocks noChangeArrowheads="1"/>
          </p:cNvSpPr>
          <p:nvPr/>
        </p:nvSpPr>
        <p:spPr bwMode="auto">
          <a:xfrm>
            <a:off x="152400" y="158496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267200" y="6324600"/>
            <a:ext cx="609600" cy="44132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188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3" name="12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914400"/>
            <a:ext cx="23622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381000" y="1981200"/>
            <a:ext cx="23622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9" name="8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Marcador de contenido"/>
          <p:cNvSpPr>
            <a:spLocks noGrp="1"/>
          </p:cNvSpPr>
          <p:nvPr>
            <p:ph sz="quarter" idx="1"/>
          </p:nvPr>
        </p:nvSpPr>
        <p:spPr>
          <a:xfrm>
            <a:off x="3124200" y="685800"/>
            <a:ext cx="5638800" cy="54102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F681BB13-5A4D-4347-9ACB-584364CCFD1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38328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175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2" name="11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/>
          <a:p>
            <a:pPr>
              <a:defRPr/>
            </a:pPr>
            <a:fld id="{43D987B3-72BE-45D6-918E-F2AB232C230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88152" y="640498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584448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3933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5791200" y="6404984"/>
            <a:ext cx="3044952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0" name="9 Conector recto"/>
          <p:cNvSpPr>
            <a:spLocks noChangeShapeType="1"/>
          </p:cNvSpPr>
          <p:nvPr/>
        </p:nvSpPr>
        <p:spPr bwMode="auto">
          <a:xfrm>
            <a:off x="152400" y="1276743"/>
            <a:ext cx="8833104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4343400" y="1040174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77D9D1A8-81EF-4A3A-902E-4FC960F11525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8534400" cy="459943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/>
  <p:txStyles>
    <p:titleStyle>
      <a:lvl1pPr algn="ctr" rtl="0" eaLnBrk="1" latinLnBrk="0" hangingPunct="1">
        <a:spcBef>
          <a:spcPct val="0"/>
        </a:spcBef>
        <a:buNone/>
        <a:defRPr kumimoji="0" sz="3300" kern="1200">
          <a:solidFill>
            <a:schemeClr val="accent3">
              <a:shade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"/>
        <a:buChar char=""/>
        <a:defRPr kumimoji="0"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ct val="20000"/>
        </a:spcBef>
        <a:buClr>
          <a:schemeClr val="accent3"/>
        </a:buClr>
        <a:buSzPct val="75000"/>
        <a:buFont typeface="Wingdings 2"/>
        <a:buChar char="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ct val="20000"/>
        </a:spcBef>
        <a:buClr>
          <a:schemeClr val="accent4"/>
        </a:buClr>
        <a:buSzPct val="70000"/>
        <a:buFont typeface="Wingdings"/>
        <a:buChar char="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ct val="20000"/>
        </a:spcBef>
        <a:buClr>
          <a:schemeClr val="accent5"/>
        </a:buClr>
        <a:buFontTx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../../../../../Desktop/SimuLAN.exe.lnk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5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chart" Target="../charts/char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chart" Target="../charts/chart3.xml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slide" Target="slide34.x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3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resentación para MII 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basada en Memoria de Título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Rodolfo </a:t>
            </a:r>
            <a:r>
              <a:rPr lang="es-ES" sz="2800" cap="none" spc="0" dirty="0" smtClean="0"/>
              <a:t>Cuevas Cortés</a:t>
            </a:r>
          </a:p>
          <a:p>
            <a:pPr eaLnBrk="1" hangingPunct="1">
              <a:lnSpc>
                <a:spcPct val="80000"/>
              </a:lnSpc>
            </a:pP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17 de junio, 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s-ES" sz="4400" dirty="0" smtClean="0"/>
              <a:t>Simulación de Itinerarios de Transporte Aéreo</a:t>
            </a:r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Objetivos de la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ES" sz="2400" dirty="0" smtClean="0"/>
              <a:t>Estimación de la puntualidad considerando </a:t>
            </a:r>
            <a:r>
              <a:rPr lang="es-ES" sz="2400" i="1" dirty="0" err="1" smtClean="0"/>
              <a:t>recovery</a:t>
            </a:r>
            <a:endParaRPr lang="es-ES" sz="2400" dirty="0" smtClean="0"/>
          </a:p>
          <a:p>
            <a:endParaRPr lang="es-ES" sz="2400" dirty="0" smtClean="0"/>
          </a:p>
          <a:p>
            <a:r>
              <a:rPr lang="es-ES" sz="2400" dirty="0" smtClean="0"/>
              <a:t>Identificación de tramos de baja puntualidad</a:t>
            </a:r>
          </a:p>
          <a:p>
            <a:endParaRPr lang="es-CL" sz="2400" dirty="0" smtClean="0"/>
          </a:p>
          <a:p>
            <a:r>
              <a:rPr lang="es-CL" sz="2400" dirty="0" smtClean="0"/>
              <a:t>Planificación de aviones de </a:t>
            </a:r>
            <a:r>
              <a:rPr lang="es-CL" sz="2400" i="1" dirty="0" err="1" smtClean="0"/>
              <a:t>backup</a:t>
            </a:r>
            <a:endParaRPr lang="es-CL" sz="2400" dirty="0" smtClean="0"/>
          </a:p>
          <a:p>
            <a:pPr lvl="1"/>
            <a:endParaRPr lang="es-CL" sz="2000" dirty="0" smtClean="0"/>
          </a:p>
          <a:p>
            <a:r>
              <a:rPr lang="es-CL" sz="2400" dirty="0" smtClean="0"/>
              <a:t>Evaluar y mejorar un itinerario de manera eficiente</a:t>
            </a:r>
          </a:p>
          <a:p>
            <a:pPr lvl="1"/>
            <a:r>
              <a:rPr lang="es-CL" sz="2000" dirty="0" smtClean="0"/>
              <a:t>Brindar al área comercial un enfoque operacional del itinerario</a:t>
            </a:r>
          </a:p>
          <a:p>
            <a:pPr lvl="1"/>
            <a:r>
              <a:rPr lang="es-CL" sz="2000" dirty="0" smtClean="0"/>
              <a:t>Mejorar el nivel de servicio</a:t>
            </a:r>
          </a:p>
          <a:p>
            <a:pPr lvl="1"/>
            <a:r>
              <a:rPr lang="es-CL" sz="2000" dirty="0" smtClean="0"/>
              <a:t>Tener un itinerario más robusto</a:t>
            </a:r>
            <a:endParaRPr lang="es-CL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Bases del modelo de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10000"/>
          </a:bodyPr>
          <a:lstStyle/>
          <a:p>
            <a:r>
              <a:rPr lang="es-CL" dirty="0" smtClean="0"/>
              <a:t>Componentes</a:t>
            </a:r>
          </a:p>
          <a:p>
            <a:pPr>
              <a:buNone/>
            </a:pPr>
            <a:r>
              <a:rPr lang="es-CL" sz="2000" dirty="0" smtClean="0"/>
              <a:t>				</a:t>
            </a:r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Horizonte de simulación parametrizable</a:t>
            </a:r>
          </a:p>
          <a:p>
            <a:pPr lvl="1"/>
            <a:r>
              <a:rPr lang="es-CL" dirty="0" smtClean="0"/>
              <a:t>Se considera representativa una semana</a:t>
            </a:r>
          </a:p>
          <a:p>
            <a:pPr lvl="1"/>
            <a:endParaRPr lang="es-CL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2436826" y="2135516"/>
          <a:ext cx="4349752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4876"/>
                <a:gridCol w="217487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Componentes explícitos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Componentes</a:t>
                      </a:r>
                      <a:r>
                        <a:rPr lang="es-CL" baseline="0" dirty="0" smtClean="0"/>
                        <a:t> implícit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Avión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Recursos human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Flota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Pasajer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Aeropuert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Mantenimientos</a:t>
                      </a:r>
                      <a:endParaRPr lang="es-C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Tram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dirty="0" smtClean="0"/>
                        <a:t>Otras aerolínea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Vuelo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L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dirty="0" smtClean="0"/>
                        <a:t>Operador Comercial</a:t>
                      </a:r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CL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20000"/>
          </a:bodyPr>
          <a:lstStyle/>
          <a:p>
            <a:r>
              <a:rPr lang="es-CL" dirty="0" smtClean="0"/>
              <a:t>Variables aleatorias de input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Variables aleatorias de output</a:t>
            </a:r>
          </a:p>
          <a:p>
            <a:pPr lvl="1"/>
            <a:r>
              <a:rPr lang="es-CL" dirty="0" smtClean="0"/>
              <a:t>Puntualidad porcentual en estándar definido por usuario (agregado).</a:t>
            </a:r>
          </a:p>
          <a:p>
            <a:pPr lvl="1"/>
            <a:r>
              <a:rPr lang="es-CL" dirty="0" smtClean="0"/>
              <a:t>Atraso de cada tramo en minutos (desagregado).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928662" y="2071678"/>
          <a:ext cx="7643866" cy="297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1702"/>
                <a:gridCol w="2357454"/>
                <a:gridCol w="321471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Tip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% del Total (2005 – 2008)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Factores explicativos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ATC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3,56%     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</a:t>
                      </a:r>
                      <a:r>
                        <a:rPr lang="es-CL" sz="1600" baseline="0" dirty="0" smtClean="0"/>
                        <a:t> Hora y Aeropuerto despegue</a:t>
                      </a:r>
                      <a:endParaRPr lang="es-CL" sz="1600" dirty="0"/>
                    </a:p>
                  </a:txBody>
                  <a:tcPr/>
                </a:tc>
              </a:tr>
              <a:tr h="12161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HBT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2,66%</a:t>
                      </a:r>
                      <a:r>
                        <a:rPr lang="es-CL" sz="1600" baseline="0" dirty="0" smtClean="0"/>
                        <a:t> 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Tramo</a:t>
                      </a:r>
                      <a:r>
                        <a:rPr lang="es-CL" sz="1600" baseline="0" dirty="0" smtClean="0"/>
                        <a:t> y Flot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Clima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1,17%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Aeropuerto</a:t>
                      </a:r>
                      <a:r>
                        <a:rPr lang="es-CL" sz="1600" baseline="0" dirty="0" smtClean="0"/>
                        <a:t> de Origen y Destino, Periodo del dí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 Mantenimient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dirty="0" smtClean="0"/>
                        <a:t>2,4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Flota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traso</a:t>
                      </a:r>
                      <a:r>
                        <a:rPr lang="es-CL" sz="1600" baseline="0" dirty="0" smtClean="0"/>
                        <a:t> por </a:t>
                      </a:r>
                    </a:p>
                    <a:p>
                      <a:r>
                        <a:rPr lang="es-CL" sz="1600" baseline="0" dirty="0" smtClean="0"/>
                        <a:t>otras causas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dirty="0" smtClean="0"/>
                        <a:t>11,70%</a:t>
                      </a:r>
                    </a:p>
                    <a:p>
                      <a:pPr algn="ctr"/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Mes, Operador Comercial</a:t>
                      </a:r>
                      <a:r>
                        <a:rPr lang="es-CL" sz="1600" baseline="0" dirty="0" smtClean="0"/>
                        <a:t> y Aeropuerto Origen</a:t>
                      </a:r>
                      <a:endParaRPr lang="es-CL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delanto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600" dirty="0" smtClean="0"/>
                        <a:t>46,08%</a:t>
                      </a:r>
                      <a:endParaRPr lang="es-C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600" dirty="0" smtClean="0"/>
                        <a:t>Aeropuerto de Origen</a:t>
                      </a:r>
                      <a:endParaRPr lang="es-CL" sz="16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4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Modelación de un tramo de vuelo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0033CC"/>
                </a:solidFill>
                <a:latin typeface="+mj-lt"/>
              </a:rPr>
              <a:t>Evento									</a:t>
            </a: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Estado</a:t>
            </a:r>
          </a:p>
          <a:p>
            <a:pPr>
              <a:buNone/>
            </a:pP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FF0000"/>
                </a:solidFill>
                <a:latin typeface="+mj-lt"/>
              </a:rPr>
              <a:t>Disrupción</a:t>
            </a:r>
            <a:endParaRPr lang="es-CL" sz="1400" kern="0" dirty="0" smtClean="0">
              <a:latin typeface="+mj-lt"/>
            </a:endParaRPr>
          </a:p>
          <a:p>
            <a:endParaRPr lang="es-CL" dirty="0"/>
          </a:p>
        </p:txBody>
      </p:sp>
      <p:pic>
        <p:nvPicPr>
          <p:cNvPr id="9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00034" y="2285992"/>
            <a:ext cx="8072494" cy="3714776"/>
          </a:xfrm>
          <a:prstGeom prst="rect">
            <a:avLst/>
          </a:prstGeom>
        </p:spPr>
      </p:pic>
      <p:sp>
        <p:nvSpPr>
          <p:cNvPr id="11" name="10 Conector"/>
          <p:cNvSpPr/>
          <p:nvPr/>
        </p:nvSpPr>
        <p:spPr>
          <a:xfrm flipV="1">
            <a:off x="7500958" y="5214950"/>
            <a:ext cx="142876" cy="142876"/>
          </a:xfrm>
          <a:prstGeom prst="flowChartConnector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Conector"/>
          <p:cNvSpPr/>
          <p:nvPr/>
        </p:nvSpPr>
        <p:spPr>
          <a:xfrm flipV="1">
            <a:off x="7500958" y="5472000"/>
            <a:ext cx="142876" cy="142876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12 Conector"/>
          <p:cNvSpPr/>
          <p:nvPr/>
        </p:nvSpPr>
        <p:spPr>
          <a:xfrm flipV="1">
            <a:off x="7500958" y="5731200"/>
            <a:ext cx="142876" cy="142876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4. Bases del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antiago, 7 de Abril de 2010</a:t>
            </a: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Flujo base de la simulación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</a:t>
            </a:r>
            <a:endParaRPr lang="es-CL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36" y="2086580"/>
            <a:ext cx="4000528" cy="441425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6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arrollo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7</a:t>
            </a:fld>
            <a:endParaRPr lang="es-E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38" y="1714488"/>
            <a:ext cx="7897812" cy="474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>
            <a:hlinkClick r:id="rId4" action="ppaction://hlinkfile"/>
          </p:cNvPr>
          <p:cNvSpPr/>
          <p:nvPr/>
        </p:nvSpPr>
        <p:spPr>
          <a:xfrm>
            <a:off x="2643174" y="5715016"/>
            <a:ext cx="4071966" cy="5715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Calibración</a:t>
            </a:r>
            <a:endParaRPr lang="es-CL" dirty="0"/>
          </a:p>
        </p:txBody>
      </p:sp>
      <p:graphicFrame>
        <p:nvGraphicFramePr>
          <p:cNvPr id="7" name="11 Marcador de contenido"/>
          <p:cNvGraphicFramePr>
            <a:graphicFrameLocks/>
          </p:cNvGraphicFramePr>
          <p:nvPr/>
        </p:nvGraphicFramePr>
        <p:xfrm>
          <a:off x="285720" y="2143116"/>
          <a:ext cx="8504237" cy="390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4891"/>
                <a:gridCol w="1071125"/>
                <a:gridCol w="1285884"/>
                <a:gridCol w="1285884"/>
                <a:gridCol w="1214446"/>
                <a:gridCol w="1285884"/>
                <a:gridCol w="114612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rupció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atos disponible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tribució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calibración primari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N°</a:t>
                      </a:r>
                      <a:r>
                        <a:rPr lang="es-CL" sz="1400" baseline="0" dirty="0" smtClean="0"/>
                        <a:t> de ajustes primari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calibración</a:t>
                      </a:r>
                      <a:r>
                        <a:rPr lang="es-CL" sz="1400" baseline="0" dirty="0" smtClean="0"/>
                        <a:t> secundari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N° de ajustes secundarios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TC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13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hora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872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Hora,</a:t>
                      </a:r>
                      <a:r>
                        <a:rPr lang="es-CL" sz="1400" baseline="0" dirty="0" smtClean="0"/>
                        <a:t>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16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HBT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312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Logístic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tramo, 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4257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Tram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28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Cli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4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aeropuerto, period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97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Semestre, aeropuerto, period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27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Mantto</a:t>
                      </a:r>
                      <a:r>
                        <a:rPr lang="es-CL" sz="1400" dirty="0" smtClean="0"/>
                        <a:t>.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9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5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Otr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44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Mes, operador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815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Operador,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95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dela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+211.000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r>
                        <a:rPr lang="es-CL" sz="1400" dirty="0" smtClean="0"/>
                        <a:t>, Beta y Gam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68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-</a:t>
                      </a:r>
                      <a:endParaRPr lang="es-CL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5. Desarroll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Números aleatorios comunes</a:t>
            </a:r>
          </a:p>
          <a:p>
            <a:pPr lvl="1"/>
            <a:r>
              <a:rPr lang="es-CL" dirty="0" smtClean="0"/>
              <a:t>Semilla única por tramo. En función de:</a:t>
            </a:r>
          </a:p>
          <a:p>
            <a:pPr lvl="2"/>
            <a:r>
              <a:rPr lang="es-CL" dirty="0" smtClean="0"/>
              <a:t>Réplica, matrícula avión, número de vuelo y tiempo de despegue.</a:t>
            </a:r>
          </a:p>
          <a:p>
            <a:r>
              <a:rPr lang="es-CL" dirty="0" smtClean="0"/>
              <a:t>Estructuras de datos</a:t>
            </a:r>
          </a:p>
          <a:p>
            <a:pPr lvl="1"/>
            <a:r>
              <a:rPr lang="es-CL" i="1" dirty="0" err="1" smtClean="0"/>
              <a:t>Heap</a:t>
            </a:r>
            <a:r>
              <a:rPr lang="es-CL" i="1" dirty="0" smtClean="0"/>
              <a:t> binario </a:t>
            </a:r>
            <a:r>
              <a:rPr lang="es-CL" dirty="0" smtClean="0"/>
              <a:t>para eventos</a:t>
            </a:r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i="1" dirty="0" smtClean="0"/>
              <a:t>Lista ligada </a:t>
            </a:r>
            <a:r>
              <a:rPr lang="es-CL" dirty="0" smtClean="0"/>
              <a:t>para representar itinerario</a:t>
            </a:r>
            <a:endParaRPr lang="es-CL" dirty="0"/>
          </a:p>
        </p:txBody>
      </p:sp>
      <p:pic>
        <p:nvPicPr>
          <p:cNvPr id="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714612" y="5500702"/>
            <a:ext cx="3786214" cy="785818"/>
          </a:xfrm>
          <a:prstGeom prst="rect">
            <a:avLst/>
          </a:prstGeom>
        </p:spPr>
      </p:pic>
      <p:pic>
        <p:nvPicPr>
          <p:cNvPr id="8" name="7 Imagen" descr="Min-heap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0430" y="3690948"/>
            <a:ext cx="1905000" cy="1238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Valid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830910"/>
          </a:xfrm>
        </p:spPr>
        <p:txBody>
          <a:bodyPr>
            <a:normAutofit fontScale="92500" lnSpcReduction="20000"/>
          </a:bodyPr>
          <a:lstStyle/>
          <a:p>
            <a:r>
              <a:rPr lang="es-CL" dirty="0" smtClean="0"/>
              <a:t>Uso actual la compañía</a:t>
            </a:r>
          </a:p>
          <a:p>
            <a:endParaRPr lang="es-CL" dirty="0" smtClean="0"/>
          </a:p>
          <a:p>
            <a:r>
              <a:rPr lang="es-CL" dirty="0" smtClean="0"/>
              <a:t>Validación en tres niveles:</a:t>
            </a:r>
          </a:p>
          <a:p>
            <a:pPr lvl="1"/>
            <a:r>
              <a:rPr lang="es-CL" dirty="0" smtClean="0"/>
              <a:t>Puntualidad</a:t>
            </a:r>
          </a:p>
          <a:p>
            <a:pPr lvl="1"/>
            <a:r>
              <a:rPr lang="es-CL" dirty="0" smtClean="0"/>
              <a:t>Generación de disrupciones</a:t>
            </a:r>
          </a:p>
          <a:p>
            <a:pPr lvl="1"/>
            <a:r>
              <a:rPr lang="es-CL" dirty="0" smtClean="0"/>
              <a:t>Algoritmo de </a:t>
            </a:r>
            <a:r>
              <a:rPr lang="es-CL" i="1" dirty="0" err="1" smtClean="0"/>
              <a:t>recovery</a:t>
            </a:r>
            <a:endParaRPr lang="es-CL" i="1" dirty="0" smtClean="0"/>
          </a:p>
          <a:p>
            <a:pPr lvl="1"/>
            <a:endParaRPr lang="es-CL" i="1" dirty="0" smtClean="0"/>
          </a:p>
          <a:p>
            <a:r>
              <a:rPr lang="es-CL" dirty="0" smtClean="0"/>
              <a:t>Metodología</a:t>
            </a:r>
          </a:p>
          <a:p>
            <a:pPr lvl="1"/>
            <a:r>
              <a:rPr lang="es-CL" dirty="0" smtClean="0"/>
              <a:t>3 itinerarios: una semana de Junio, Septiembre y Diciembre 2008.</a:t>
            </a:r>
          </a:p>
          <a:p>
            <a:pPr lvl="1"/>
            <a:r>
              <a:rPr lang="es-CL" dirty="0" smtClean="0"/>
              <a:t>Simulación</a:t>
            </a:r>
          </a:p>
          <a:p>
            <a:pPr lvl="2"/>
            <a:r>
              <a:rPr lang="es-CL" dirty="0" smtClean="0"/>
              <a:t>100 réplicas</a:t>
            </a:r>
          </a:p>
          <a:p>
            <a:pPr lvl="2"/>
            <a:r>
              <a:rPr lang="es-CL" dirty="0" smtClean="0"/>
              <a:t>Puntualidad STD15</a:t>
            </a:r>
          </a:p>
          <a:p>
            <a:pPr lvl="2"/>
            <a:r>
              <a:rPr lang="es-CL" dirty="0" smtClean="0"/>
              <a:t>Sin 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Comparación de simulación con resultados de itinerario real</a:t>
            </a:r>
          </a:p>
          <a:p>
            <a:pPr lvl="1"/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2</a:t>
            </a:fld>
            <a:endParaRPr lang="es-ES"/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57158" y="2143116"/>
          <a:ext cx="8572560" cy="1609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428760"/>
                <a:gridCol w="1428760"/>
                <a:gridCol w="1428760"/>
                <a:gridCol w="1571638"/>
                <a:gridCol w="1285882"/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M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untualidad observad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untualidad simulad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Diferenc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Intervalo de confianza (95%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Precisión relativa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Juni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5,6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6,5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8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6,30% - 86,8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31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eptiemb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9,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9,18% - 89,6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24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Diciemb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8,7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8,8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8,67% - 89,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24%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8 Marcador de contenido"/>
          <p:cNvSpPr>
            <a:spLocks noGrp="1"/>
          </p:cNvSpPr>
          <p:nvPr>
            <p:ph sz="quarter" idx="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s-CL" dirty="0" smtClean="0"/>
              <a:t>Puntualidad global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r>
              <a:rPr lang="es-CL" dirty="0" smtClean="0"/>
              <a:t>Puntualidad histórica</a:t>
            </a:r>
            <a:endParaRPr lang="es-CL" dirty="0"/>
          </a:p>
        </p:txBody>
      </p:sp>
      <p:graphicFrame>
        <p:nvGraphicFramePr>
          <p:cNvPr id="18" name="17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586" r:id="rId11" imgW="0" imgH="0" progId="TCLayout.ActiveDocument.1">
              <p:embed/>
            </p:oleObj>
          </a:graphicData>
        </a:graphic>
      </p:graphicFrame>
      <p:sp>
        <p:nvSpPr>
          <p:cNvPr id="15" name="14 Rectángulo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89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119" name="118 Gráfico"/>
          <p:cNvGraphicFramePr/>
          <p:nvPr/>
        </p:nvGraphicFramePr>
        <p:xfrm>
          <a:off x="928662" y="4500570"/>
          <a:ext cx="7500990" cy="181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9" grpId="0">
        <p:bldAsOne/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Flota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  <a:endParaRPr lang="es-CL" dirty="0"/>
          </a:p>
        </p:txBody>
      </p:sp>
      <p:graphicFrame>
        <p:nvGraphicFramePr>
          <p:cNvPr id="21" name="20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635" r:id="rId10" imgW="0" imgH="0" progId="TCLayout.ActiveDocument.1">
              <p:embed/>
            </p:oleObj>
          </a:graphicData>
        </a:graphic>
      </p:graphicFrame>
      <p:sp>
        <p:nvSpPr>
          <p:cNvPr id="15" name="14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85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39" name="38 Gráfico"/>
          <p:cNvGraphicFramePr/>
          <p:nvPr/>
        </p:nvGraphicFramePr>
        <p:xfrm>
          <a:off x="3000364" y="2143116"/>
          <a:ext cx="4429156" cy="1571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0" name="39 Gráfico"/>
          <p:cNvGraphicFramePr/>
          <p:nvPr/>
        </p:nvGraphicFramePr>
        <p:xfrm>
          <a:off x="3000364" y="3643314"/>
          <a:ext cx="4429156" cy="150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1" name="40 Gráfico"/>
          <p:cNvGraphicFramePr/>
          <p:nvPr/>
        </p:nvGraphicFramePr>
        <p:xfrm>
          <a:off x="3000364" y="5000636"/>
          <a:ext cx="4500594" cy="150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Puntualidad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4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rincipales aeropuertos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</a:p>
          <a:p>
            <a:endParaRPr lang="es-CL" dirty="0"/>
          </a:p>
        </p:txBody>
      </p:sp>
      <p:graphicFrame>
        <p:nvGraphicFramePr>
          <p:cNvPr id="7" name="6 Gráfico"/>
          <p:cNvGraphicFramePr/>
          <p:nvPr/>
        </p:nvGraphicFramePr>
        <p:xfrm>
          <a:off x="2714612" y="2071679"/>
          <a:ext cx="4572000" cy="1571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2714612" y="3500438"/>
          <a:ext cx="4572000" cy="1571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8 Gráfico"/>
          <p:cNvGraphicFramePr/>
          <p:nvPr/>
        </p:nvGraphicFramePr>
        <p:xfrm>
          <a:off x="2714612" y="4857760"/>
          <a:ext cx="4500594" cy="164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Disrup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roporción de causas de atraso con respecto al total.</a:t>
            </a:r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Junio</a:t>
            </a:r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Septiembre</a:t>
            </a:r>
          </a:p>
          <a:p>
            <a:pPr lvl="1"/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Diciembre</a:t>
            </a:r>
          </a:p>
          <a:p>
            <a:endParaRPr lang="es-CL" dirty="0" smtClean="0"/>
          </a:p>
          <a:p>
            <a:endParaRPr lang="es-CL" dirty="0"/>
          </a:p>
        </p:txBody>
      </p:sp>
      <p:graphicFrame>
        <p:nvGraphicFramePr>
          <p:cNvPr id="7" name="6 Gráfico"/>
          <p:cNvGraphicFramePr/>
          <p:nvPr/>
        </p:nvGraphicFramePr>
        <p:xfrm>
          <a:off x="3000364" y="2071678"/>
          <a:ext cx="4572000" cy="1500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3000364" y="3571876"/>
          <a:ext cx="4572000" cy="1500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8 Gráfico"/>
          <p:cNvGraphicFramePr/>
          <p:nvPr/>
        </p:nvGraphicFramePr>
        <p:xfrm>
          <a:off x="3000364" y="5072074"/>
          <a:ext cx="4572000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6. Validación - </a:t>
            </a:r>
            <a:r>
              <a:rPr lang="es-CL" dirty="0" err="1" smtClean="0"/>
              <a:t>Recovery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6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Swaps efectuados en una semana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pPr lvl="1"/>
            <a:r>
              <a:rPr lang="es-CL" dirty="0" smtClean="0"/>
              <a:t>En promedio se esperan 30 swaps.</a:t>
            </a:r>
          </a:p>
          <a:p>
            <a:pPr lvl="1"/>
            <a:r>
              <a:rPr lang="es-CL" dirty="0" smtClean="0"/>
              <a:t>Holguras de mantenimiento aumentan las posibilidades de efectuar swaps.</a:t>
            </a:r>
            <a:endParaRPr lang="es-CL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571472" y="2214554"/>
          <a:ext cx="7858179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884"/>
                <a:gridCol w="1211108"/>
                <a:gridCol w="978740"/>
                <a:gridCol w="1057832"/>
                <a:gridCol w="1813426"/>
                <a:gridCol w="1511189"/>
              </a:tblGrid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es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Promedi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ínim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Máximo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Intervalo de </a:t>
                      </a:r>
                      <a:endParaRPr lang="es-CL" sz="1600" dirty="0" smtClean="0">
                        <a:solidFill>
                          <a:schemeClr val="bg1"/>
                        </a:solidFill>
                        <a:latin typeface="+mj-lt"/>
                        <a:ea typeface="Times New Roman"/>
                      </a:endParaRPr>
                    </a:p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 smtClean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confianza </a:t>
                      </a: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(95%)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</a:rPr>
                        <a:t>Precisión relativa</a:t>
                      </a: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Junio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5,40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4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48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4,30 – 36,50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,12%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Septiembre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4,61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2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49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3,48 – 35,74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,26%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Diciembre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7,58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7</a:t>
                      </a:r>
                      <a:endParaRPr lang="es-CL" sz="160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53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36,48 – 38,68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215900" algn="ctr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CL" sz="16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</a:rPr>
                        <a:t>2,93%</a:t>
                      </a:r>
                      <a:endParaRPr lang="es-CL" sz="1600" dirty="0">
                        <a:latin typeface="+mj-lt"/>
                        <a:ea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Aplicaciones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7. Aplica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Mejoramiento del itinerario</a:t>
            </a:r>
          </a:p>
          <a:p>
            <a:pPr lvl="1"/>
            <a:r>
              <a:rPr lang="es-CL" dirty="0" smtClean="0"/>
              <a:t>3 meses de anticipación</a:t>
            </a:r>
          </a:p>
          <a:p>
            <a:pPr lvl="1"/>
            <a:r>
              <a:rPr lang="es-CL" dirty="0" smtClean="0"/>
              <a:t>Interacción con área comercial – operacional.</a:t>
            </a:r>
          </a:p>
          <a:p>
            <a:pPr lvl="1"/>
            <a:r>
              <a:rPr lang="es-CL" dirty="0" smtClean="0"/>
              <a:t>Detectan tramos y/o aviones de mala puntualidad.</a:t>
            </a:r>
          </a:p>
          <a:p>
            <a:pPr lvl="1"/>
            <a:r>
              <a:rPr lang="es-CL" dirty="0" smtClean="0"/>
              <a:t>Uso de números aleatorios comunes para evaluar impactos.</a:t>
            </a:r>
          </a:p>
          <a:p>
            <a:r>
              <a:rPr lang="es-CL" dirty="0" smtClean="0"/>
              <a:t>Evaluación de avione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1"/>
            <a:r>
              <a:rPr lang="es-CL" dirty="0" smtClean="0"/>
              <a:t>Generación de holguras</a:t>
            </a:r>
            <a:r>
              <a:rPr lang="es-CL" dirty="0" smtClean="0">
                <a:sym typeface="Wingdings" pitchFamily="2" charset="2"/>
              </a:rPr>
              <a:t></a:t>
            </a:r>
            <a:r>
              <a:rPr lang="es-CL" dirty="0" smtClean="0"/>
              <a:t> recursos adicionales de </a:t>
            </a:r>
            <a:r>
              <a:rPr lang="es-CL" i="1" dirty="0" err="1" smtClean="0"/>
              <a:t>recovery</a:t>
            </a:r>
            <a:endParaRPr lang="es-CL" i="1" dirty="0" smtClean="0"/>
          </a:p>
          <a:p>
            <a:pPr lvl="1"/>
            <a:r>
              <a:rPr lang="es-CL" dirty="0" smtClean="0"/>
              <a:t>Nuevos 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Nuevas localizaciones</a:t>
            </a:r>
          </a:p>
          <a:p>
            <a:pPr lvl="1"/>
            <a:endParaRPr lang="es-CL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7. Aplicaciones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: evaluación de mejor localización en función de la puntualidad.</a:t>
            </a:r>
          </a:p>
          <a:p>
            <a:pPr lvl="1">
              <a:buNone/>
            </a:pPr>
            <a:endParaRPr lang="es-CL" dirty="0" smtClean="0"/>
          </a:p>
          <a:p>
            <a:pPr lvl="1"/>
            <a:r>
              <a:rPr lang="es-CL" dirty="0" smtClean="0"/>
              <a:t>Puntualidad (STD15) </a:t>
            </a:r>
          </a:p>
          <a:p>
            <a:pPr lvl="1">
              <a:buNone/>
            </a:pPr>
            <a:r>
              <a:rPr lang="es-CL" dirty="0" smtClean="0"/>
              <a:t>     promedio</a:t>
            </a:r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endParaRPr lang="es-CL" dirty="0" smtClean="0"/>
          </a:p>
          <a:p>
            <a:pPr lvl="1"/>
            <a:r>
              <a:rPr lang="es-CL" dirty="0" smtClean="0"/>
              <a:t>Tramos volados</a:t>
            </a:r>
          </a:p>
          <a:p>
            <a:pPr lvl="1">
              <a:buNone/>
            </a:pPr>
            <a:r>
              <a:rPr lang="es-CL" dirty="0" smtClean="0"/>
              <a:t>     promedio</a:t>
            </a:r>
            <a:endParaRPr lang="es-CL" dirty="0"/>
          </a:p>
        </p:txBody>
      </p:sp>
      <p:graphicFrame>
        <p:nvGraphicFramePr>
          <p:cNvPr id="7" name="5 Gráfico"/>
          <p:cNvGraphicFramePr/>
          <p:nvPr/>
        </p:nvGraphicFramePr>
        <p:xfrm>
          <a:off x="4071934" y="2143116"/>
          <a:ext cx="4572000" cy="214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7 Gráfico"/>
          <p:cNvGraphicFramePr/>
          <p:nvPr/>
        </p:nvGraphicFramePr>
        <p:xfrm>
          <a:off x="4143372" y="4429132"/>
          <a:ext cx="4572032" cy="2028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Introduc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Extens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8. Extens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CuadroTexto"/>
          <p:cNvSpPr txBox="1"/>
          <p:nvPr/>
        </p:nvSpPr>
        <p:spPr>
          <a:xfrm>
            <a:off x="5786478" y="1698958"/>
            <a:ext cx="27146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modelo actual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428728" y="1698958"/>
            <a:ext cx="19288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input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5929322" y="6128114"/>
            <a:ext cx="21431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Mejoras al software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785918" y="6143644"/>
            <a:ext cx="14287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rgbClr val="000099"/>
                </a:solidFill>
                <a:latin typeface="+mj-lt"/>
                <a:cs typeface="Aharoni" pitchFamily="2" charset="-79"/>
              </a:rPr>
              <a:t>Extensiones </a:t>
            </a:r>
            <a:endParaRPr lang="es-CL" sz="1600" b="1" dirty="0">
              <a:solidFill>
                <a:srgbClr val="000099"/>
              </a:solidFill>
              <a:latin typeface="+mj-lt"/>
              <a:cs typeface="Aharoni" pitchFamily="2" charset="-79"/>
            </a:endParaRPr>
          </a:p>
        </p:txBody>
      </p:sp>
      <p:graphicFrame>
        <p:nvGraphicFramePr>
          <p:cNvPr id="12" name="3 Marcador de contenido"/>
          <p:cNvGraphicFramePr>
            <a:graphicFrameLocks/>
          </p:cNvGraphicFramePr>
          <p:nvPr/>
        </p:nvGraphicFramePr>
        <p:xfrm>
          <a:off x="-357222" y="1500174"/>
          <a:ext cx="9901278" cy="5214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1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11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18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1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20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22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23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24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31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2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3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35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6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37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" presetClass="emph" presetSubtype="1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44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4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  <p:set>
                                      <p:cBhvr override="childStyle">
                                        <p:cTn id="4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override="childStyle">
                                        <p:cTn id="48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Style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4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normal"/>
                                      </p:to>
                                    </p:set>
                                    <p:set>
                                      <p:cBhvr override="childStyle">
                                        <p:cTn id="50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fals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7" grpId="2"/>
      <p:bldP spid="8" grpId="0"/>
      <p:bldP spid="8" grpId="1"/>
      <p:bldP spid="8" grpId="2"/>
      <p:bldP spid="9" grpId="0"/>
      <p:bldP spid="9" grpId="1"/>
      <p:bldP spid="10" grpId="0"/>
      <p:bldP spid="10" grpId="1"/>
      <p:bldP spid="10" grpId="2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2</a:t>
            </a:fld>
            <a:endParaRPr lang="es-ES"/>
          </a:p>
        </p:txBody>
      </p:sp>
      <p:sp>
        <p:nvSpPr>
          <p:cNvPr id="26626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0" y="1527175"/>
            <a:ext cx="8504238" cy="4572000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endParaRPr lang="es-CL" dirty="0" smtClean="0"/>
          </a:p>
          <a:p>
            <a:pPr>
              <a:buFont typeface="Wingdings" pitchFamily="2" charset="2"/>
              <a:buNone/>
            </a:pPr>
            <a:endParaRPr lang="es-CL" dirty="0" smtClean="0"/>
          </a:p>
        </p:txBody>
      </p:sp>
      <p:pic>
        <p:nvPicPr>
          <p:cNvPr id="4" name="Picture 5" descr="C:\Users\Rodolfo\Desktop\clipart ppt\question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92" y="4000504"/>
            <a:ext cx="2357454" cy="235745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 fontScale="92500" lnSpcReduction="10000"/>
          </a:bodyPr>
          <a:lstStyle/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resentación para MII 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basada en Memoria de Título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Presentada por</a:t>
            </a:r>
          </a:p>
          <a:p>
            <a:pPr eaLnBrk="1" hangingPunct="1">
              <a:lnSpc>
                <a:spcPct val="80000"/>
              </a:lnSpc>
            </a:pPr>
            <a:r>
              <a:rPr lang="es-ES" sz="28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24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17 de junio, 2010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s-ES" sz="4400" dirty="0" smtClean="0"/>
              <a:t>Simulación de Itinerarios de Transporte Aéreo</a:t>
            </a:r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10" name="9 Marcador de contenido"/>
          <p:cNvSpPr>
            <a:spLocks noGrp="1"/>
          </p:cNvSpPr>
          <p:nvPr>
            <p:ph sz="quarter" idx="1"/>
          </p:nvPr>
        </p:nvSpPr>
        <p:spPr>
          <a:xfrm>
            <a:off x="301752" y="1357298"/>
            <a:ext cx="8503920" cy="4572000"/>
          </a:xfrm>
        </p:spPr>
        <p:txBody>
          <a:bodyPr/>
          <a:lstStyle/>
          <a:p>
            <a:r>
              <a:rPr lang="es-CL" dirty="0" smtClean="0"/>
              <a:t>Flota de LAN (2008)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escripción del problema</a:t>
            </a:r>
            <a:endParaRPr kumimoji="0" lang="es-CL" sz="33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6" name="Picture 2" descr="C:\Users\Rodolfo\Pictures\TABLA DE FLOTAS LAN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1857364"/>
            <a:ext cx="7215209" cy="4502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2" descr="C:\Users\Rodolfo\Pictures\arp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89" y="2144685"/>
            <a:ext cx="8572529" cy="3570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Elipse"/>
          <p:cNvSpPr/>
          <p:nvPr/>
        </p:nvSpPr>
        <p:spPr>
          <a:xfrm>
            <a:off x="2786063" y="4714875"/>
            <a:ext cx="571500" cy="3571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9" name="8 Conector recto de flecha"/>
          <p:cNvCxnSpPr>
            <a:stCxn id="7" idx="4"/>
            <a:endCxn id="11" idx="0"/>
          </p:cNvCxnSpPr>
          <p:nvPr/>
        </p:nvCxnSpPr>
        <p:spPr>
          <a:xfrm rot="5400000">
            <a:off x="2716192" y="5427663"/>
            <a:ext cx="711222" cy="2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1571604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Vuelo 337, entre Antofagasta y Santiago</a:t>
            </a:r>
          </a:p>
        </p:txBody>
      </p:sp>
      <p:sp>
        <p:nvSpPr>
          <p:cNvPr id="13" name="12 Elipse"/>
          <p:cNvSpPr/>
          <p:nvPr/>
        </p:nvSpPr>
        <p:spPr>
          <a:xfrm>
            <a:off x="1714500" y="5068887"/>
            <a:ext cx="785813" cy="4286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4" name="13 Conector recto de flecha"/>
          <p:cNvCxnSpPr>
            <a:stCxn id="13" idx="4"/>
            <a:endCxn id="15" idx="0"/>
          </p:cNvCxnSpPr>
          <p:nvPr/>
        </p:nvCxnSpPr>
        <p:spPr>
          <a:xfrm rot="16200000" flipH="1">
            <a:off x="1982376" y="5622542"/>
            <a:ext cx="285772" cy="3571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14 CuadroTexto"/>
          <p:cNvSpPr txBox="1">
            <a:spLocks noChangeArrowheads="1"/>
          </p:cNvSpPr>
          <p:nvPr/>
        </p:nvSpPr>
        <p:spPr bwMode="auto">
          <a:xfrm>
            <a:off x="642930" y="5783284"/>
            <a:ext cx="300037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</a:t>
            </a:r>
          </a:p>
          <a:p>
            <a:pPr algn="ctr"/>
            <a:r>
              <a:rPr lang="es-CL" i="1" dirty="0">
                <a:latin typeface="+mj-lt"/>
              </a:rPr>
              <a:t>programado</a:t>
            </a:r>
          </a:p>
        </p:txBody>
      </p:sp>
      <p:sp>
        <p:nvSpPr>
          <p:cNvPr id="16" name="15 Elipse"/>
          <p:cNvSpPr/>
          <p:nvPr/>
        </p:nvSpPr>
        <p:spPr>
          <a:xfrm>
            <a:off x="4429125" y="5072062"/>
            <a:ext cx="1000125" cy="4254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7" name="16 Conector recto de flecha"/>
          <p:cNvCxnSpPr>
            <a:stCxn id="16" idx="4"/>
            <a:endCxn id="18" idx="0"/>
          </p:cNvCxnSpPr>
          <p:nvPr/>
        </p:nvCxnSpPr>
        <p:spPr>
          <a:xfrm rot="5400000">
            <a:off x="4786298" y="5640394"/>
            <a:ext cx="285772" cy="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17 CuadroTexto"/>
          <p:cNvSpPr txBox="1">
            <a:spLocks noChangeArrowheads="1"/>
          </p:cNvSpPr>
          <p:nvPr/>
        </p:nvSpPr>
        <p:spPr bwMode="auto">
          <a:xfrm>
            <a:off x="3428992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no programado</a:t>
            </a:r>
          </a:p>
        </p:txBody>
      </p:sp>
      <p:sp>
        <p:nvSpPr>
          <p:cNvPr id="21" name="20 Elipse"/>
          <p:cNvSpPr/>
          <p:nvPr/>
        </p:nvSpPr>
        <p:spPr>
          <a:xfrm>
            <a:off x="214314" y="2357430"/>
            <a:ext cx="785786" cy="342899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22" name="21 Conector recto de flecha"/>
          <p:cNvCxnSpPr>
            <a:stCxn id="21" idx="0"/>
            <a:endCxn id="23" idx="2"/>
          </p:cNvCxnSpPr>
          <p:nvPr/>
        </p:nvCxnSpPr>
        <p:spPr>
          <a:xfrm rot="16200000" flipV="1">
            <a:off x="428601" y="2178824"/>
            <a:ext cx="357190" cy="2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2 CuadroTexto"/>
          <p:cNvSpPr txBox="1">
            <a:spLocks noChangeArrowheads="1"/>
          </p:cNvSpPr>
          <p:nvPr/>
        </p:nvSpPr>
        <p:spPr bwMode="auto">
          <a:xfrm>
            <a:off x="-285784" y="1630353"/>
            <a:ext cx="17859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Aviones</a:t>
            </a:r>
          </a:p>
        </p:txBody>
      </p:sp>
      <p:sp>
        <p:nvSpPr>
          <p:cNvPr id="34" name="33 Elipse"/>
          <p:cNvSpPr/>
          <p:nvPr/>
        </p:nvSpPr>
        <p:spPr>
          <a:xfrm>
            <a:off x="1071565" y="2071679"/>
            <a:ext cx="7929591" cy="500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35" name="34 Conector recto de flecha"/>
          <p:cNvCxnSpPr>
            <a:stCxn id="34" idx="7"/>
            <a:endCxn id="36" idx="2"/>
          </p:cNvCxnSpPr>
          <p:nvPr/>
        </p:nvCxnSpPr>
        <p:spPr>
          <a:xfrm rot="5400000" flipH="1" flipV="1">
            <a:off x="7747311" y="1962643"/>
            <a:ext cx="274852" cy="896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35 CuadroTexto"/>
          <p:cNvSpPr txBox="1">
            <a:spLocks noChangeArrowheads="1"/>
          </p:cNvSpPr>
          <p:nvPr/>
        </p:nvSpPr>
        <p:spPr bwMode="auto">
          <a:xfrm>
            <a:off x="7286644" y="1500174"/>
            <a:ext cx="1285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Tiempo</a:t>
            </a:r>
          </a:p>
        </p:txBody>
      </p:sp>
      <p:sp>
        <p:nvSpPr>
          <p:cNvPr id="26" name="2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>
                <a:latin typeface="+mj-lt"/>
              </a:rPr>
              <a:t>Santiago, 17 de Junio de 2010</a:t>
            </a:r>
            <a:endParaRPr lang="es-ES" dirty="0">
              <a:latin typeface="+mj-lt"/>
            </a:endParaRPr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>
                <a:latin typeface="+mj-lt"/>
              </a:rPr>
              <a:t>Simulación de Itinerarios de Transporte Aéreo</a:t>
            </a:r>
            <a:endParaRPr lang="es-ES">
              <a:latin typeface="+mj-lt"/>
            </a:endParaRPr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27" name="26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Itinerario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es-CL" sz="3300" dirty="0" smtClean="0">
                <a:solidFill>
                  <a:schemeClr val="accent3">
                    <a:shade val="75000"/>
                  </a:schemeClr>
                </a:solidFill>
              </a:rPr>
              <a:t>Descripción del problema</a:t>
            </a:r>
            <a:endParaRPr lang="es-CL" sz="3300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1" grpId="0"/>
      <p:bldP spid="11" grpId="1"/>
      <p:bldP spid="13" grpId="0" animBg="1"/>
      <p:bldP spid="15" grpId="0"/>
      <p:bldP spid="16" grpId="0" animBg="1"/>
      <p:bldP spid="18" grpId="0"/>
      <p:bldP spid="21" grpId="0" animBg="1"/>
      <p:bldP spid="21" grpId="1" animBg="1"/>
      <p:bldP spid="23" grpId="0"/>
      <p:bldP spid="23" grpId="1"/>
      <p:bldP spid="34" grpId="0" animBg="1"/>
      <p:bldP spid="34" grpId="1" animBg="1"/>
      <p:bldP spid="36" grpId="0"/>
      <p:bldP spid="36" grpId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8066" name="Picture 2" descr="C:\Users\Rodolfo\PUC\Simulan\docs\Memoria\Defensa\frames\frame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7" name="Picture 3" descr="C:\Users\Rodolfo\PUC\Simulan\docs\Memoria\Defensa\frames\frame1-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9090" name="Picture 2" descr="C:\Users\Rodolfo\PUC\Simulan\docs\Memoria\Defensa\frames\frame1-2 -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0114" name="Picture 2" descr="C:\Users\Rodolfo\PUC\Simulan\docs\Memoria\Defensa\frames\frame1-3-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1. Introduc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CL" dirty="0" smtClean="0"/>
              <a:t>Génesis del trabajo</a:t>
            </a:r>
          </a:p>
          <a:p>
            <a:pPr lvl="1"/>
            <a:r>
              <a:rPr lang="es-CL" dirty="0" smtClean="0"/>
              <a:t>Curso Simulación (2008)</a:t>
            </a:r>
          </a:p>
          <a:p>
            <a:pPr lvl="1"/>
            <a:r>
              <a:rPr lang="es-CL" dirty="0" smtClean="0"/>
              <a:t>Práctica en LAN (2009). Área </a:t>
            </a:r>
            <a:r>
              <a:rPr lang="es-CL" i="1" dirty="0" err="1" smtClean="0"/>
              <a:t>On</a:t>
            </a:r>
            <a:r>
              <a:rPr lang="es-CL" i="1" dirty="0" smtClean="0"/>
              <a:t> Time Performance </a:t>
            </a:r>
            <a:r>
              <a:rPr lang="es-CL" dirty="0" smtClean="0"/>
              <a:t>(OTP) del Centro de Control Operacional (CCO) </a:t>
            </a:r>
          </a:p>
          <a:p>
            <a:pPr lvl="2"/>
            <a:r>
              <a:rPr lang="es-CL" dirty="0" smtClean="0"/>
              <a:t>2 meses de desarrollo</a:t>
            </a:r>
          </a:p>
          <a:p>
            <a:pPr lvl="2"/>
            <a:r>
              <a:rPr lang="es-CL" dirty="0" smtClean="0"/>
              <a:t>Modelación dirigida por analistas de la compañía</a:t>
            </a:r>
          </a:p>
          <a:p>
            <a:pPr>
              <a:buNone/>
            </a:pPr>
            <a:endParaRPr lang="es-CL" dirty="0" smtClean="0"/>
          </a:p>
          <a:p>
            <a:r>
              <a:rPr lang="es-CL" dirty="0" err="1" smtClean="0"/>
              <a:t>SimuLAN</a:t>
            </a:r>
            <a:endParaRPr lang="es-CL" dirty="0" smtClean="0"/>
          </a:p>
          <a:p>
            <a:pPr lvl="1"/>
            <a:r>
              <a:rPr lang="es-CL" dirty="0" smtClean="0"/>
              <a:t>Simula la operación de itinerarios de vuelo</a:t>
            </a:r>
          </a:p>
          <a:p>
            <a:pPr lvl="2"/>
            <a:r>
              <a:rPr lang="es-CL" dirty="0" smtClean="0"/>
              <a:t>Condiciones de incertidumbre</a:t>
            </a:r>
          </a:p>
          <a:p>
            <a:pPr lvl="2"/>
            <a:r>
              <a:rPr lang="es-CL" dirty="0" smtClean="0"/>
              <a:t>Algoritmo de </a:t>
            </a:r>
            <a:r>
              <a:rPr lang="es-CL" i="1" dirty="0" err="1" smtClean="0"/>
              <a:t>recovery</a:t>
            </a:r>
            <a:endParaRPr lang="es-CL" dirty="0" smtClean="0"/>
          </a:p>
          <a:p>
            <a:pPr lvl="1"/>
            <a:r>
              <a:rPr lang="es-CL" dirty="0" smtClean="0"/>
              <a:t>Utilidad principal</a:t>
            </a:r>
          </a:p>
          <a:p>
            <a:pPr lvl="2"/>
            <a:r>
              <a:rPr lang="es-CL" dirty="0" smtClean="0"/>
              <a:t>Apoyo a la planificación en mediano plazo (3 meses)</a:t>
            </a:r>
          </a:p>
          <a:p>
            <a:pPr lvl="2"/>
            <a:r>
              <a:rPr lang="es-CL" dirty="0" smtClean="0"/>
              <a:t>Análisis de puntualidad</a:t>
            </a:r>
          </a:p>
          <a:p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1138" name="Picture 2" descr="C:\Users\Rodolfo\PUC\Simulan\docs\Memoria\Defensa\frames\frame1-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200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2162" name="Picture 2" descr="C:\Users\Rodolfo\PUC\Simulan\docs\Memoria\Defensa\frames\frame1-5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3186" name="Picture 2" descr="C:\Users\Rodolfo\PUC\Simulan\docs\Memoria\Defensa\frames\frame2.pn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cripción del problema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Objetivos de la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6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lanificación de Itinerarios</a:t>
            </a:r>
            <a:endParaRPr lang="es-CL" dirty="0"/>
          </a:p>
        </p:txBody>
      </p:sp>
      <p:pic>
        <p:nvPicPr>
          <p:cNvPr id="9" name="6 Marcador de contenido" descr="SDXTMPPPT01.emf">
            <a:hlinkClick r:id="rId3" action="ppaction://hlinksldjump"/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85852" y="2000240"/>
            <a:ext cx="7215238" cy="4500594"/>
          </a:xfrm>
          <a:prstGeom prst="rect">
            <a:avLst/>
          </a:prstGeom>
        </p:spPr>
      </p:pic>
      <p:sp>
        <p:nvSpPr>
          <p:cNvPr id="16" name="15 Medio marco">
            <a:hlinkClick r:id="rId3" action="ppaction://hlinksldjump"/>
          </p:cNvPr>
          <p:cNvSpPr/>
          <p:nvPr/>
        </p:nvSpPr>
        <p:spPr>
          <a:xfrm rot="16200000">
            <a:off x="1357290" y="4714884"/>
            <a:ext cx="428628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17" name="16 Medio marco">
            <a:hlinkClick r:id="rId5" action="ppaction://hlinksldjump"/>
          </p:cNvPr>
          <p:cNvSpPr/>
          <p:nvPr/>
        </p:nvSpPr>
        <p:spPr>
          <a:xfrm rot="16200000">
            <a:off x="1357289" y="3571875"/>
            <a:ext cx="428629" cy="428628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marL="571500" indent="-571500"/>
            <a:r>
              <a:rPr lang="es-CL" dirty="0" smtClean="0"/>
              <a:t>2. Descripción del problema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Disrupciones</a:t>
            </a:r>
          </a:p>
          <a:p>
            <a:pPr lvl="1"/>
            <a:r>
              <a:rPr lang="es-CL" dirty="0" smtClean="0"/>
              <a:t>Cualquier evento que afecte la operación como fue planificado</a:t>
            </a:r>
          </a:p>
          <a:p>
            <a:pPr lvl="1"/>
            <a:r>
              <a:rPr lang="es-CL" dirty="0" smtClean="0"/>
              <a:t>162 causas de atraso clasificadas</a:t>
            </a:r>
          </a:p>
          <a:p>
            <a:pPr lvl="1"/>
            <a:r>
              <a:rPr lang="es-CL" dirty="0" smtClean="0"/>
              <a:t>Principales causas de atraso:</a:t>
            </a:r>
          </a:p>
          <a:p>
            <a:pPr lvl="1"/>
            <a:endParaRPr lang="es-CL" dirty="0" smtClean="0"/>
          </a:p>
        </p:txBody>
      </p:sp>
      <p:graphicFrame>
        <p:nvGraphicFramePr>
          <p:cNvPr id="15" name="14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7" r:id="rId10" imgW="0" imgH="0" progId="TCLayout.ActiveDocument.1">
              <p:embed/>
            </p:oleObj>
          </a:graphicData>
        </a:graphic>
      </p:graphicFrame>
      <p:sp>
        <p:nvSpPr>
          <p:cNvPr id="8" name="7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25%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23" name="2 Gráfico"/>
          <p:cNvGraphicFramePr/>
          <p:nvPr/>
        </p:nvGraphicFramePr>
        <p:xfrm>
          <a:off x="1500166" y="3162300"/>
          <a:ext cx="6786610" cy="369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dirty="0" err="1" smtClean="0"/>
              <a:t>Recovery</a:t>
            </a:r>
            <a:endParaRPr lang="es-CL" dirty="0" smtClean="0"/>
          </a:p>
          <a:p>
            <a:pPr lvl="1"/>
            <a:r>
              <a:rPr lang="es-CL" dirty="0" smtClean="0"/>
              <a:t>Reasignación</a:t>
            </a:r>
            <a:r>
              <a:rPr lang="es-CL" i="1" dirty="0" smtClean="0"/>
              <a:t> (swap) </a:t>
            </a:r>
          </a:p>
          <a:p>
            <a:pPr lvl="1"/>
            <a:r>
              <a:rPr lang="es-CL" dirty="0" smtClean="0"/>
              <a:t>Aviones de </a:t>
            </a:r>
            <a:r>
              <a:rPr lang="es-CL" i="1" dirty="0" err="1" smtClean="0"/>
              <a:t>backup</a:t>
            </a:r>
            <a:endParaRPr lang="es-CL" i="1" dirty="0" smtClean="0"/>
          </a:p>
          <a:p>
            <a:pPr lvl="1"/>
            <a:r>
              <a:rPr lang="es-CL" dirty="0" smtClean="0"/>
              <a:t>Reprogramación</a:t>
            </a:r>
          </a:p>
          <a:p>
            <a:pPr lvl="1"/>
            <a:r>
              <a:rPr lang="es-CL" dirty="0" smtClean="0"/>
              <a:t>Cancelación</a:t>
            </a:r>
          </a:p>
          <a:p>
            <a:pPr lvl="1">
              <a:buNone/>
            </a:pPr>
            <a:endParaRPr lang="es-CL" i="1" dirty="0" smtClean="0"/>
          </a:p>
          <a:p>
            <a:r>
              <a:rPr lang="es-CL" dirty="0" smtClean="0"/>
              <a:t>Robustez de itinerario</a:t>
            </a:r>
          </a:p>
          <a:p>
            <a:pPr lvl="1"/>
            <a:r>
              <a:rPr lang="es-CL" dirty="0" smtClean="0"/>
              <a:t>Calidad de servicio: puntualidad</a:t>
            </a:r>
          </a:p>
          <a:p>
            <a:pPr lvl="1"/>
            <a:r>
              <a:rPr lang="es-CL" dirty="0" smtClean="0"/>
              <a:t>Maximizar uso de activos</a:t>
            </a:r>
          </a:p>
          <a:p>
            <a:pPr lvl="1"/>
            <a:r>
              <a:rPr lang="es-CL" dirty="0" smtClean="0"/>
              <a:t>Equilibrio comercial-operacional</a:t>
            </a:r>
          </a:p>
          <a:p>
            <a:pPr lvl="1"/>
            <a:endParaRPr lang="es-CL" i="1" dirty="0" smtClean="0"/>
          </a:p>
          <a:p>
            <a:endParaRPr lang="es-CL" dirty="0"/>
          </a:p>
        </p:txBody>
      </p:sp>
      <p:sp>
        <p:nvSpPr>
          <p:cNvPr id="8" name="7 Botón de acción: Final">
            <a:hlinkClick r:id="rId3" action="ppaction://hlinksldjump" highlightClick="1"/>
          </p:cNvPr>
          <p:cNvSpPr/>
          <p:nvPr/>
        </p:nvSpPr>
        <p:spPr>
          <a:xfrm>
            <a:off x="3286116" y="2071678"/>
            <a:ext cx="357190" cy="285752"/>
          </a:xfrm>
          <a:prstGeom prst="actionButtonEnd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124" name="Picture 4" descr="http://www.lasescapadas.com/wp-content/uploads/2007/10/la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7884" y="1714488"/>
            <a:ext cx="2571768" cy="1981065"/>
          </a:xfrm>
          <a:prstGeom prst="rect">
            <a:avLst/>
          </a:prstGeom>
          <a:noFill/>
        </p:spPr>
      </p:pic>
      <p:pic>
        <p:nvPicPr>
          <p:cNvPr id="5126" name="Picture 6" descr="http://www.cnnexpansion.com/photos/2008/07/01/vw-y-nissan-desembolsan-cada-ano-un-monto-equivalente-al-aguinaldo-en-premios-a-la-puntualidad-especial.2008-07-31.513463744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29388" y="3929066"/>
            <a:ext cx="1380516" cy="221457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Objetivos de la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arrollo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Valid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Aplicaciones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Extensión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9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6&quot;&gt;&lt;elem&gt;&lt;m_ppcolschidx val=&quot;0&quot;/&gt;&lt;m_rgb r=&quot;16&quot; g=&quot;18&quot; b=&quot;76&quot;/&gt;&lt;/elem&gt;&lt;elem&gt;&lt;m_ppcolschidx val=&quot;0&quot;/&gt;&lt;m_rgb r=&quot;d6&quot; g=&quot;df&quot; b=&quot;e9&quot;/&gt;&lt;/elem&gt;&lt;elem&gt;&lt;m_ppcolschidx val=&quot;0&quot;/&gt;&lt;m_rgb r=&quot;df&quot; g=&quot;e6&quot; b=&quot;f2&quot;/&gt;&lt;/elem&gt;&lt;elem&gt;&lt;m_ppcolschidx val=&quot;0&quot;/&gt;&lt;m_rgb r=&quot;b1&quot; g=&quot;b6&quot; b=&quot;d8&quot;/&gt;&lt;/elem&gt;&lt;elem&gt;&lt;m_ppcolschidx val=&quot;0&quot;/&gt;&lt;m_rgb r=&quot;16&quot; g=&quot;18&quot; b=&quot;74&quot;/&gt;&lt;/elem&gt;&lt;elem&gt;&lt;m_ppcolschidx val=&quot;0&quot;/&gt;&lt;m_rgb r=&quot;b0&quot; g=&quot;c0&quot; b=&quot;d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5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qKqoQwkG2PBkIQSUj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MTpPp7dUuqd3WuSBAa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kis97Liki5vhUaoml9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Lq8rJatkWoB9slEmrH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R07fHDJ06AJhyP1b21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bit0nkM0mtk.eNFOjk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4BLz0nr0mZInUThn_E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2M00X2WEu4vXRQn7oL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6bzxxiekGhbyJJzPTy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q07rQ.x06AOpjx0P.f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AsoI2_c0.czfqvLOoPU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ZdOsSXv0WTqtrMYxt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GJ3GIT80KVCeUnFLq9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IFur5fE0unrKUK9f9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7dKXpq9E61Sx3fgWIl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IXRnOh70uQIbhUXcm4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M455RgLkKFgfRi1LWn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3KqmvrAkq6iiJdd5n2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u2yUPkCEq6PSn1t4Cb4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vil">
  <a:themeElements>
    <a:clrScheme name="Personalizado 1">
      <a:dk1>
        <a:sysClr val="windowText" lastClr="000000"/>
      </a:dk1>
      <a:lt1>
        <a:sysClr val="window" lastClr="FFFFFF"/>
      </a:lt1>
      <a:dk2>
        <a:srgbClr val="3F3F3F"/>
      </a:dk2>
      <a:lt2>
        <a:srgbClr val="FAFAFA"/>
      </a:lt2>
      <a:accent1>
        <a:srgbClr val="181B7E"/>
      </a:accent1>
      <a:accent2>
        <a:srgbClr val="2529BD"/>
      </a:accent2>
      <a:accent3>
        <a:srgbClr val="9799EA"/>
      </a:accent3>
      <a:accent4>
        <a:srgbClr val="B9BBF1"/>
      </a:accent4>
      <a:accent5>
        <a:srgbClr val="CFD0F5"/>
      </a:accent5>
      <a:accent6>
        <a:srgbClr val="FFFFFF"/>
      </a:accent6>
      <a:hlink>
        <a:srgbClr val="DB5353"/>
      </a:hlink>
      <a:folHlink>
        <a:srgbClr val="90363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9432</TotalTime>
  <Words>2125</Words>
  <Application>Microsoft Office PowerPoint</Application>
  <PresentationFormat>Presentación en pantalla (4:3)</PresentationFormat>
  <Paragraphs>658</Paragraphs>
  <Slides>42</Slides>
  <Notes>2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42</vt:i4>
      </vt:variant>
    </vt:vector>
  </HeadingPairs>
  <TitlesOfParts>
    <vt:vector size="43" baseType="lpstr">
      <vt:lpstr>Civil</vt:lpstr>
      <vt:lpstr>Simulación de Itinerarios de Transporte Aéreo</vt:lpstr>
      <vt:lpstr>Contenido</vt:lpstr>
      <vt:lpstr>Contenido</vt:lpstr>
      <vt:lpstr>1. Introducción</vt:lpstr>
      <vt:lpstr>Contenido</vt:lpstr>
      <vt:lpstr>2. Descripción del problema</vt:lpstr>
      <vt:lpstr>2. Descripción del problema</vt:lpstr>
      <vt:lpstr>2. Descripción del problema</vt:lpstr>
      <vt:lpstr>Contenido</vt:lpstr>
      <vt:lpstr>3. Objetivos de la Simulación</vt:lpstr>
      <vt:lpstr>Contenido</vt:lpstr>
      <vt:lpstr>4. Bases del modelo de simulación</vt:lpstr>
      <vt:lpstr>4. Bases del modelo de simulación</vt:lpstr>
      <vt:lpstr>4. Bases del modelo de simulación</vt:lpstr>
      <vt:lpstr>4. Bases del modelo de simulación</vt:lpstr>
      <vt:lpstr>Contenido</vt:lpstr>
      <vt:lpstr>5. Desarrollo</vt:lpstr>
      <vt:lpstr>5. Desarrollo</vt:lpstr>
      <vt:lpstr>5. Desarrollo</vt:lpstr>
      <vt:lpstr>Contenido</vt:lpstr>
      <vt:lpstr>6. Validación</vt:lpstr>
      <vt:lpstr>6. Validación - Puntualidad</vt:lpstr>
      <vt:lpstr>6. Validación - Puntualidad</vt:lpstr>
      <vt:lpstr>6. Validación - Puntualidad</vt:lpstr>
      <vt:lpstr>6. Validación - Disrupciones</vt:lpstr>
      <vt:lpstr>6. Validación - Recovery</vt:lpstr>
      <vt:lpstr>Contenido</vt:lpstr>
      <vt:lpstr>7. Aplicaciones</vt:lpstr>
      <vt:lpstr>7. Aplicaciones</vt:lpstr>
      <vt:lpstr>Contenido</vt:lpstr>
      <vt:lpstr>8. Extensión</vt:lpstr>
      <vt:lpstr>Diapositiva 32</vt:lpstr>
      <vt:lpstr>Simulación de Itinerarios de Transporte Aéreo</vt:lpstr>
      <vt:lpstr>Diapositiva 34</vt:lpstr>
      <vt:lpstr>Diapositiva 35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uLAN</dc:title>
  <dc:creator>MAM</dc:creator>
  <cp:lastModifiedBy>Rodolfo</cp:lastModifiedBy>
  <cp:revision>365</cp:revision>
  <dcterms:created xsi:type="dcterms:W3CDTF">2009-01-05T12:44:24Z</dcterms:created>
  <dcterms:modified xsi:type="dcterms:W3CDTF">2010-06-17T22:31:25Z</dcterms:modified>
</cp:coreProperties>
</file>